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tags/tag16.xml" ContentType="application/vnd.openxmlformats-officedocument.presentationml.tags+xml"/>
  <Override PartName="/ppt/notesSlides/notesSlide18.xml" ContentType="application/vnd.openxmlformats-officedocument.presentationml.notesSlide+xml"/>
  <Override PartName="/ppt/tags/tag17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8.xml" ContentType="application/vnd.openxmlformats-officedocument.presentationml.tags+xml"/>
  <Override PartName="/ppt/notesSlides/notesSlide21.xml" ContentType="application/vnd.openxmlformats-officedocument.presentationml.notesSlide+xml"/>
  <Override PartName="/ppt/tags/tag19.xml" ContentType="application/vnd.openxmlformats-officedocument.presentationml.tags+xml"/>
  <Override PartName="/ppt/notesSlides/notesSlide22.xml" ContentType="application/vnd.openxmlformats-officedocument.presentationml.notesSlide+xml"/>
  <Override PartName="/ppt/tags/tag20.xml" ContentType="application/vnd.openxmlformats-officedocument.presentationml.tags+xml"/>
  <Override PartName="/ppt/notesSlides/notesSlide23.xml" ContentType="application/vnd.openxmlformats-officedocument.presentationml.notesSlide+xml"/>
  <Override PartName="/ppt/tags/tag21.xml" ContentType="application/vnd.openxmlformats-officedocument.presentationml.tags+xml"/>
  <Override PartName="/ppt/notesSlides/notesSlide24.xml" ContentType="application/vnd.openxmlformats-officedocument.presentationml.notesSlide+xml"/>
  <Override PartName="/ppt/tags/tag22.xml" ContentType="application/vnd.openxmlformats-officedocument.presentationml.tags+xml"/>
  <Override PartName="/ppt/notesSlides/notesSlide25.xml" ContentType="application/vnd.openxmlformats-officedocument.presentationml.notesSlide+xml"/>
  <Override PartName="/ppt/tags/tag23.xml" ContentType="application/vnd.openxmlformats-officedocument.presentationml.tags+xml"/>
  <Override PartName="/ppt/notesSlides/notesSlide26.xml" ContentType="application/vnd.openxmlformats-officedocument.presentationml.notesSlide+xml"/>
  <Override PartName="/ppt/tags/tag24.xml" ContentType="application/vnd.openxmlformats-officedocument.presentationml.tags+xml"/>
  <Override PartName="/ppt/notesSlides/notesSlide27.xml" ContentType="application/vnd.openxmlformats-officedocument.presentationml.notesSlide+xml"/>
  <Override PartName="/ppt/tags/tag25.xml" ContentType="application/vnd.openxmlformats-officedocument.presentationml.tags+xml"/>
  <Override PartName="/ppt/notesSlides/notesSlide28.xml" ContentType="application/vnd.openxmlformats-officedocument.presentationml.notesSlide+xml"/>
  <Override PartName="/ppt/tags/tag26.xml" ContentType="application/vnd.openxmlformats-officedocument.presentationml.tags+xml"/>
  <Override PartName="/ppt/notesSlides/notesSlide29.xml" ContentType="application/vnd.openxmlformats-officedocument.presentationml.notesSlide+xml"/>
  <Override PartName="/ppt/tags/tag27.xml" ContentType="application/vnd.openxmlformats-officedocument.presentationml.tags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35"/>
  </p:notesMasterIdLst>
  <p:sldIdLst>
    <p:sldId id="327" r:id="rId5"/>
    <p:sldId id="1026" r:id="rId6"/>
    <p:sldId id="1025" r:id="rId7"/>
    <p:sldId id="1047" r:id="rId8"/>
    <p:sldId id="1048" r:id="rId9"/>
    <p:sldId id="1049" r:id="rId10"/>
    <p:sldId id="547" r:id="rId11"/>
    <p:sldId id="548" r:id="rId12"/>
    <p:sldId id="549" r:id="rId13"/>
    <p:sldId id="1027" r:id="rId14"/>
    <p:sldId id="1028" r:id="rId15"/>
    <p:sldId id="1029" r:id="rId16"/>
    <p:sldId id="1030" r:id="rId17"/>
    <p:sldId id="1058" r:id="rId18"/>
    <p:sldId id="1031" r:id="rId19"/>
    <p:sldId id="1032" r:id="rId20"/>
    <p:sldId id="1059" r:id="rId21"/>
    <p:sldId id="1060" r:id="rId22"/>
    <p:sldId id="1052" r:id="rId23"/>
    <p:sldId id="1036" r:id="rId24"/>
    <p:sldId id="1046" r:id="rId25"/>
    <p:sldId id="1037" r:id="rId26"/>
    <p:sldId id="1038" r:id="rId27"/>
    <p:sldId id="1039" r:id="rId28"/>
    <p:sldId id="1040" r:id="rId29"/>
    <p:sldId id="1041" r:id="rId30"/>
    <p:sldId id="1053" r:id="rId31"/>
    <p:sldId id="1054" r:id="rId32"/>
    <p:sldId id="1055" r:id="rId33"/>
    <p:sldId id="1057" r:id="rId34"/>
  </p:sldIdLst>
  <p:sldSz cx="9144000" cy="6858000" type="screen4x3"/>
  <p:notesSz cx="6635750" cy="9767888"/>
  <p:custDataLst>
    <p:tags r:id="rId36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77" userDrawn="1">
          <p15:clr>
            <a:srgbClr val="A4A3A4"/>
          </p15:clr>
        </p15:guide>
        <p15:guide id="2" pos="209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8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3300"/>
    <a:srgbClr val="ED7D31"/>
    <a:srgbClr val="0B57CF"/>
    <a:srgbClr val="1A1A1D"/>
    <a:srgbClr val="323332"/>
    <a:srgbClr val="2FD159"/>
    <a:srgbClr val="1A1A25"/>
    <a:srgbClr val="4472C4"/>
    <a:srgbClr val="0096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286" autoAdjust="0"/>
    <p:restoredTop sz="76841" autoAdjust="0"/>
  </p:normalViewPr>
  <p:slideViewPr>
    <p:cSldViewPr snapToGrid="0" snapToObjects="1">
      <p:cViewPr varScale="1">
        <p:scale>
          <a:sx n="47" d="100"/>
          <a:sy n="47" d="100"/>
        </p:scale>
        <p:origin x="1668" y="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78" d="100"/>
          <a:sy n="78" d="100"/>
        </p:scale>
        <p:origin x="4020" y="96"/>
      </p:cViewPr>
      <p:guideLst>
        <p:guide orient="horz" pos="3077"/>
        <p:guide pos="209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875492" cy="490090"/>
          </a:xfrm>
          <a:prstGeom prst="rect">
            <a:avLst/>
          </a:prstGeom>
        </p:spPr>
        <p:txBody>
          <a:bodyPr vert="horz" lIns="89221" tIns="44610" rIns="89221" bIns="44610" rtlCol="0"/>
          <a:lstStyle>
            <a:lvl1pPr algn="l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endParaRPr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758725" y="2"/>
            <a:ext cx="2875492" cy="490090"/>
          </a:xfrm>
          <a:prstGeom prst="rect">
            <a:avLst/>
          </a:prstGeom>
        </p:spPr>
        <p:txBody>
          <a:bodyPr vert="horz" lIns="89221" tIns="44610" rIns="89221" bIns="44610" rtlCol="0"/>
          <a:lstStyle>
            <a:lvl1pPr algn="r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fld id="{4FE7F398-C44E-EB48-B175-4278262AA32A}" type="datetimeFigureOut">
              <a:rPr lang="ja-JP" altLang="en-US" smtClean="0"/>
              <a:pPr/>
              <a:t>2025/3/28</a:t>
            </a:fld>
            <a:endParaRPr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90563" y="576263"/>
            <a:ext cx="5254625" cy="39417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221" tIns="44610" rIns="89221" bIns="44610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378583" y="4566710"/>
            <a:ext cx="5878583" cy="4711090"/>
          </a:xfrm>
          <a:prstGeom prst="rect">
            <a:avLst/>
          </a:prstGeom>
        </p:spPr>
        <p:txBody>
          <a:bodyPr vert="horz" lIns="89221" tIns="44610" rIns="89221" bIns="44610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2" y="9277801"/>
            <a:ext cx="2875492" cy="490089"/>
          </a:xfrm>
          <a:prstGeom prst="rect">
            <a:avLst/>
          </a:prstGeom>
        </p:spPr>
        <p:txBody>
          <a:bodyPr vert="horz" lIns="89221" tIns="44610" rIns="89221" bIns="44610" rtlCol="0" anchor="b"/>
          <a:lstStyle>
            <a:lvl1pPr algn="l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endParaRPr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758725" y="9277801"/>
            <a:ext cx="2875492" cy="490089"/>
          </a:xfrm>
          <a:prstGeom prst="rect">
            <a:avLst/>
          </a:prstGeom>
        </p:spPr>
        <p:txBody>
          <a:bodyPr vert="horz" lIns="89221" tIns="44610" rIns="89221" bIns="44610" rtlCol="0" anchor="b"/>
          <a:lstStyle>
            <a:lvl1pPr algn="r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fld id="{2E1C7AFC-CFB2-404C-A69D-ECFBCE546BF5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1993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99F7A39-1409-83B9-E5C1-E0AAB22233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0395281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</a:t>
            </a:fld>
            <a:endParaRPr lang="ja-JP" altLang="en-US" dirty="0"/>
          </a:p>
        </p:txBody>
      </p:sp>
      <p:sp>
        <p:nvSpPr>
          <p:cNvPr id="6" name="スライド イメージ プレースホルダー 5">
            <a:extLst>
              <a:ext uri="{FF2B5EF4-FFF2-40B4-BE49-F238E27FC236}">
                <a16:creationId xmlns:a16="http://schemas.microsoft.com/office/drawing/2014/main" id="{FC22E5CF-1657-6CD2-2E91-6B606BBA35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0305419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6804305-3E52-6C37-4218-6C306D23F9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9560488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464744E-E249-0DD0-CC01-E12D746B6B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6254271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B63A8E3-C105-BE3E-49D8-8755AB6F1E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1701943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C343C4D-895B-965F-DB32-6874F109E4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8490361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A0A0200F-8599-09F2-BB8A-590B6F16DA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89374306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C343C4D-895B-965F-DB32-6874F109E4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4092152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C343C4D-895B-965F-DB32-6874F109E4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71674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C343C4D-895B-965F-DB32-6874F109E4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9564394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DE0498B9-6482-A65F-3E83-DCAA473BAB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3038403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55D3BFE1-4C8C-9C78-2392-F7AE3231D6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ja-JP" dirty="0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0B6BF9C6-E480-B334-A9B3-185A95C003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0872852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0</a:t>
            </a:fld>
            <a:endParaRPr lang="ja-JP" altLang="en-US" dirty="0"/>
          </a:p>
        </p:txBody>
      </p:sp>
      <p:sp>
        <p:nvSpPr>
          <p:cNvPr id="6" name="スライド イメージ プレースホルダー 5">
            <a:extLst>
              <a:ext uri="{FF2B5EF4-FFF2-40B4-BE49-F238E27FC236}">
                <a16:creationId xmlns:a16="http://schemas.microsoft.com/office/drawing/2014/main" id="{C8329985-2432-11EF-5E07-26B98EE90F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451702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1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8E447A5-D277-0A40-1E32-5E79832A4C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22939573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05A7F99-8E13-0D17-244D-B8AF33786B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27908367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83F717F-ABE2-FAC2-C049-46E070C8E7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11751000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F0543097-6CB1-F830-8C03-1CE9BB2E65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49828088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E36E712-C336-575A-6B12-4629C15EEC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9373448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1D94D39-2512-53C0-558E-A0E4097751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5821612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7</a:t>
            </a:fld>
            <a:endParaRPr lang="ja-JP" altLang="en-US" dirty="0"/>
          </a:p>
        </p:txBody>
      </p:sp>
      <p:sp>
        <p:nvSpPr>
          <p:cNvPr id="6" name="スライド イメージ プレースホルダー 5">
            <a:extLst>
              <a:ext uri="{FF2B5EF4-FFF2-40B4-BE49-F238E27FC236}">
                <a16:creationId xmlns:a16="http://schemas.microsoft.com/office/drawing/2014/main" id="{B6DF189F-DDC7-EDF2-99C6-4CD6D40C3F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22096129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34C41FC-FC41-748C-38FC-992E52440D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7222241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7207523-0602-E4DA-046C-CDBEC08B35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267515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3</a:t>
            </a:fld>
            <a:endParaRPr lang="ja-JP" altLang="en-US" dirty="0"/>
          </a:p>
        </p:txBody>
      </p:sp>
      <p:sp>
        <p:nvSpPr>
          <p:cNvPr id="6" name="スライド イメージ プレースホルダー 5">
            <a:extLst>
              <a:ext uri="{FF2B5EF4-FFF2-40B4-BE49-F238E27FC236}">
                <a16:creationId xmlns:a16="http://schemas.microsoft.com/office/drawing/2014/main" id="{86118075-DB3F-E0A2-098C-71744D6302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70054656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30</a:t>
            </a:fld>
            <a:endParaRPr lang="ja-JP" altLang="en-US" dirty="0"/>
          </a:p>
        </p:txBody>
      </p:sp>
      <p:sp>
        <p:nvSpPr>
          <p:cNvPr id="6" name="スライド イメージ プレースホルダー 5">
            <a:extLst>
              <a:ext uri="{FF2B5EF4-FFF2-40B4-BE49-F238E27FC236}">
                <a16:creationId xmlns:a16="http://schemas.microsoft.com/office/drawing/2014/main" id="{A3F99FBD-68E6-C37C-9EB8-B94519E086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705321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4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2FE5F0F9-54A3-2676-6700-0DE1186D53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294592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5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C402309-3C8B-61EF-9556-E3768D0A98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555694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6</a:t>
            </a:fld>
            <a:endParaRPr lang="ja-JP" altLang="en-US" dirty="0"/>
          </a:p>
        </p:txBody>
      </p:sp>
      <p:sp>
        <p:nvSpPr>
          <p:cNvPr id="6" name="スライド イメージ プレースホルダー 5">
            <a:extLst>
              <a:ext uri="{FF2B5EF4-FFF2-40B4-BE49-F238E27FC236}">
                <a16:creationId xmlns:a16="http://schemas.microsoft.com/office/drawing/2014/main" id="{4F1A07F9-96F3-7084-82AE-73BFF62543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7948707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7</a:t>
            </a:fld>
            <a:endParaRPr lang="ja-JP" altLang="en-US"/>
          </a:p>
        </p:txBody>
      </p:sp>
      <p:sp>
        <p:nvSpPr>
          <p:cNvPr id="6" name="スライド イメージ プレースホルダー 5">
            <a:extLst>
              <a:ext uri="{FF2B5EF4-FFF2-40B4-BE49-F238E27FC236}">
                <a16:creationId xmlns:a16="http://schemas.microsoft.com/office/drawing/2014/main" id="{EFF1D7BA-7C18-689B-A807-97A51809D9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480347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8</a:t>
            </a:fld>
            <a:endParaRPr lang="ja-JP" altLang="en-US"/>
          </a:p>
        </p:txBody>
      </p:sp>
      <p:sp>
        <p:nvSpPr>
          <p:cNvPr id="6" name="スライド イメージ プレースホルダー 5">
            <a:extLst>
              <a:ext uri="{FF2B5EF4-FFF2-40B4-BE49-F238E27FC236}">
                <a16:creationId xmlns:a16="http://schemas.microsoft.com/office/drawing/2014/main" id="{8B577406-0731-2701-F3BD-06F6F988C7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87123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9</a:t>
            </a:fld>
            <a:endParaRPr lang="ja-JP" altLang="en-US"/>
          </a:p>
        </p:txBody>
      </p:sp>
      <p:sp>
        <p:nvSpPr>
          <p:cNvPr id="6" name="スライド イメージ プレースホルダー 5">
            <a:extLst>
              <a:ext uri="{FF2B5EF4-FFF2-40B4-BE49-F238E27FC236}">
                <a16:creationId xmlns:a16="http://schemas.microsoft.com/office/drawing/2014/main" id="{5FF15062-0CE8-9FDD-296E-6F4EE66441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01998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Abadi" panose="020B0604020104020204" pitchFamily="34" charset="0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42463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Abadi" panose="020B0604020104020204" pitchFamily="34" charset="0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9573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5382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 dirty="0">
              <a:solidFill>
                <a:sysClr val="windowText" lastClr="0000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/>
          <p:nvPr userDrawn="1"/>
        </p:nvCxnSpPr>
        <p:spPr>
          <a:xfrm>
            <a:off x="-36512" y="883627"/>
            <a:ext cx="9180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49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663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>
          <p15:clr>
            <a:srgbClr val="FBAE40"/>
          </p15:clr>
        </p15:guide>
        <p15:guide id="16" pos="3787">
          <p15:clr>
            <a:srgbClr val="FBAE40"/>
          </p15:clr>
        </p15:guide>
        <p15:guide id="17" pos="5375">
          <p15:clr>
            <a:srgbClr val="FBAE40"/>
          </p15:clr>
        </p15:guide>
        <p15:guide id="18" orient="horz" pos="125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480">
          <p15:clr>
            <a:srgbClr val="FBAE40"/>
          </p15:clr>
        </p15:guide>
        <p15:guide id="21" orient="horz" pos="1706">
          <p15:clr>
            <a:srgbClr val="FBAE40"/>
          </p15:clr>
        </p15:guide>
        <p15:guide id="22" orient="horz" pos="3861">
          <p15:clr>
            <a:srgbClr val="FBAE40"/>
          </p15:clr>
        </p15:guide>
        <p15:guide id="23" pos="1837">
          <p15:clr>
            <a:srgbClr val="FBAE40"/>
          </p15:clr>
        </p15:guide>
        <p15:guide id="24" pos="4014">
          <p15:clr>
            <a:srgbClr val="FBAE40"/>
          </p15:clr>
        </p15:guide>
        <p15:guide id="25" pos="2290">
          <p15:clr>
            <a:srgbClr val="FBAE40"/>
          </p15:clr>
        </p15:guide>
        <p15:guide id="26" pos="612">
          <p15:clr>
            <a:srgbClr val="FBAE40"/>
          </p15:clr>
        </p15:guide>
        <p15:guide id="27" pos="310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IZ UDPゴシック" panose="020B0400000000000000" pitchFamily="50" charset="-128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3/28</a:t>
            </a:fld>
            <a:endParaRPr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412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pos="2767" userDrawn="1">
          <p15:clr>
            <a:srgbClr val="FBAE40"/>
          </p15:clr>
        </p15:guide>
        <p15:guide id="19" pos="2993" userDrawn="1">
          <p15:clr>
            <a:srgbClr val="FBAE40"/>
          </p15:clr>
        </p15:guide>
        <p15:guide id="20" orient="horz" pos="1933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1480" userDrawn="1">
          <p15:clr>
            <a:srgbClr val="FBAE40"/>
          </p15:clr>
        </p15:guide>
        <p15:guide id="23" orient="horz" pos="1253" userDrawn="1">
          <p15:clr>
            <a:srgbClr val="FBAE40"/>
          </p15:clr>
        </p15:guide>
        <p15:guide id="24" orient="horz" pos="2387" userDrawn="1">
          <p15:clr>
            <a:srgbClr val="FBAE40"/>
          </p15:clr>
        </p15:guide>
        <p15:guide id="25" orient="horz" pos="2614" userDrawn="1">
          <p15:clr>
            <a:srgbClr val="FBAE40"/>
          </p15:clr>
        </p15:guide>
        <p15:guide id="26" orient="horz" pos="3861" userDrawn="1">
          <p15:clr>
            <a:srgbClr val="FBAE40"/>
          </p15:clr>
        </p15:guide>
        <p15:guide id="27" pos="4354" userDrawn="1">
          <p15:clr>
            <a:srgbClr val="FBAE40"/>
          </p15:clr>
        </p15:guide>
        <p15:guide id="28" pos="3107" userDrawn="1">
          <p15:clr>
            <a:srgbClr val="FBAE40"/>
          </p15:clr>
        </p15:guide>
        <p15:guide id="29" pos="3334" userDrawn="1">
          <p15:clr>
            <a:srgbClr val="FBAE40"/>
          </p15:clr>
        </p15:guide>
        <p15:guide id="30" pos="2653" userDrawn="1">
          <p15:clr>
            <a:srgbClr val="FBAE40"/>
          </p15:clr>
        </p15:guide>
        <p15:guide id="31" pos="1859" userDrawn="1">
          <p15:clr>
            <a:srgbClr val="FBAE40"/>
          </p15:clr>
        </p15:guide>
        <p15:guide id="32" pos="446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  <a:lvl2pPr>
              <a:defRPr>
                <a:latin typeface="Abadi" panose="020B0604020104020204" pitchFamily="34" charset="0"/>
              </a:defRPr>
            </a:lvl2pPr>
            <a:lvl3pPr>
              <a:defRPr>
                <a:latin typeface="Abadi" panose="020B0604020104020204" pitchFamily="34" charset="0"/>
              </a:defRPr>
            </a:lvl3pPr>
            <a:lvl4pPr>
              <a:defRPr>
                <a:latin typeface="Abadi" panose="020B0604020104020204" pitchFamily="34" charset="0"/>
              </a:defRPr>
            </a:lvl4pPr>
            <a:lvl5pPr>
              <a:defRPr>
                <a:latin typeface="Abadi" panose="020B0604020104020204" pitchFamily="34" charset="0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3/28</a:t>
            </a:fld>
            <a:endParaRPr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3A4B5AD0-CDA6-4BE0-927E-7B562244D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0227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2" imgW="554" imgH="551" progId="TCLayout.ActiveDocument.1">
                  <p:embed/>
                </p:oleObj>
              </mc:Choice>
              <mc:Fallback>
                <p:oleObj name="think-cell スライド" r:id="rId12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3A4B5AD0-CDA6-4BE0-927E-7B562244D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3/28</a:t>
            </a:fld>
            <a:endParaRPr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65" r:id="rId5"/>
    <p:sldLayoutId id="2147483664" r:id="rId6"/>
    <p:sldLayoutId id="2147483661" r:id="rId7"/>
    <p:sldLayoutId id="2147483663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BIZ UDPゴシック" panose="020B0400000000000000" pitchFamily="50" charset="-128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2.jpg"/><Relationship Id="rId4" Type="http://schemas.openxmlformats.org/officeDocument/2006/relationships/image" Target="../media/image11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4.jp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18.jpg"/><Relationship Id="rId4" Type="http://schemas.openxmlformats.org/officeDocument/2006/relationships/image" Target="../media/image17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7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9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21.jp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9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22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23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25.jpg"/><Relationship Id="rId4" Type="http://schemas.openxmlformats.org/officeDocument/2006/relationships/image" Target="../media/image24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10" Type="http://schemas.openxmlformats.org/officeDocument/2006/relationships/image" Target="../media/image3.png"/><Relationship Id="rId4" Type="http://schemas.openxmlformats.org/officeDocument/2006/relationships/image" Target="../media/image26.png"/><Relationship Id="rId9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31.jpg"/><Relationship Id="rId4" Type="http://schemas.openxmlformats.org/officeDocument/2006/relationships/image" Target="../media/image30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35.jpg"/><Relationship Id="rId4" Type="http://schemas.openxmlformats.org/officeDocument/2006/relationships/image" Target="../media/image34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37.jpg"/><Relationship Id="rId4" Type="http://schemas.openxmlformats.org/officeDocument/2006/relationships/image" Target="../media/image36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38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6" Type="http://schemas.openxmlformats.org/officeDocument/2006/relationships/oleObject" Target="../embeddings/oleObject21.bin"/><Relationship Id="rId5" Type="http://schemas.openxmlformats.org/officeDocument/2006/relationships/image" Target="../media/image24.jpg"/><Relationship Id="rId4" Type="http://schemas.openxmlformats.org/officeDocument/2006/relationships/image" Target="../media/image39.jp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4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5D81D4D6-5110-4FDB-A422-D38F27C69A93}"/>
              </a:ext>
            </a:extLst>
          </p:cNvPr>
          <p:cNvSpPr txBox="1"/>
          <p:nvPr/>
        </p:nvSpPr>
        <p:spPr>
          <a:xfrm>
            <a:off x="7544393" y="6384107"/>
            <a:ext cx="10425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7938"/>
            <a:r>
              <a:rPr kumimoji="1" lang="ja-JP" altLang="en-US" sz="12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令和</a:t>
            </a:r>
            <a:r>
              <a:rPr kumimoji="1" lang="en-US" altLang="ja-JP" sz="12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7</a:t>
            </a:r>
            <a:r>
              <a:rPr kumimoji="1" lang="ja-JP" altLang="en-US" sz="12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年</a:t>
            </a:r>
            <a:r>
              <a:rPr lang="en-US" altLang="ja-JP" sz="12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4</a:t>
            </a:r>
            <a:r>
              <a:rPr kumimoji="1" lang="ja-JP" altLang="en-US" sz="12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月</a:t>
            </a: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3333F582-E97D-3090-FD33-D56CFC51F086}"/>
              </a:ext>
            </a:extLst>
          </p:cNvPr>
          <p:cNvSpPr txBox="1">
            <a:spLocks/>
          </p:cNvSpPr>
          <p:nvPr/>
        </p:nvSpPr>
        <p:spPr>
          <a:xfrm>
            <a:off x="977462" y="2305116"/>
            <a:ext cx="7161554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＋</a:t>
            </a: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ALK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を使って楽しく歩こう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3A64A638-86E5-21D0-4AB0-5101D06A1D7F}"/>
              </a:ext>
            </a:extLst>
          </p:cNvPr>
          <p:cNvSpPr txBox="1"/>
          <p:nvPr/>
        </p:nvSpPr>
        <p:spPr>
          <a:xfrm>
            <a:off x="796826" y="571149"/>
            <a:ext cx="6484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6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</a:t>
            </a:r>
            <a:r>
              <a:rPr kumimoji="1" lang="ja-JP" altLang="en-US" sz="36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ートフォン</a:t>
            </a:r>
            <a:endParaRPr kumimoji="1" lang="en-US" altLang="ja-JP" sz="36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kumimoji="1" lang="en-US" altLang="ja-JP" sz="36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</a:t>
            </a:r>
            <a:r>
              <a:rPr lang="ja-JP" altLang="en-US" sz="36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応用</a:t>
            </a:r>
            <a:r>
              <a:rPr kumimoji="1" lang="ja-JP" altLang="en-US" sz="36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編</a:t>
            </a:r>
            <a:r>
              <a:rPr kumimoji="1" lang="en-US" altLang="ja-JP" sz="36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endParaRPr kumimoji="1" lang="ja-JP" altLang="en-US" sz="36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991415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88DE9F2F-1CCE-D318-BA8E-B32B19F7D3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3178" y="2406591"/>
            <a:ext cx="1993846" cy="431999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図 1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DB8D4676-4777-6E32-C5CF-9340424C16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62944" y="2416077"/>
            <a:ext cx="1993846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159565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FUN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WALK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アプリ　　　 をダブルタップ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す</a:t>
            </a:r>
            <a:endParaRPr lang="ja-JP" altLang="en-US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252545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続ける」をダブルタップ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す</a:t>
            </a:r>
            <a:endParaRPr lang="ja-JP" altLang="en-US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D7D58969-52A4-4A4F-C6A0-42C832E1725D}"/>
              </a:ext>
            </a:extLst>
          </p:cNvPr>
          <p:cNvSpPr/>
          <p:nvPr/>
        </p:nvSpPr>
        <p:spPr>
          <a:xfrm>
            <a:off x="6208101" y="4928276"/>
            <a:ext cx="860916" cy="393128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9D6B54B1-11ED-6BD3-4F9F-C950FCDC5100}"/>
              </a:ext>
            </a:extLst>
          </p:cNvPr>
          <p:cNvSpPr/>
          <p:nvPr/>
        </p:nvSpPr>
        <p:spPr>
          <a:xfrm>
            <a:off x="2972652" y="4832379"/>
            <a:ext cx="324000" cy="324000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32" name="図 3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991685D3-6D3C-296C-01DD-E00245B548B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8757" t="57137" r="8838" b="37137"/>
          <a:stretch/>
        </p:blipFill>
        <p:spPr>
          <a:xfrm>
            <a:off x="3656861" y="1529614"/>
            <a:ext cx="395621" cy="395621"/>
          </a:xfrm>
          <a:custGeom>
            <a:avLst/>
            <a:gdLst>
              <a:gd name="connsiteX0" fmla="*/ 84002 w 504000"/>
              <a:gd name="connsiteY0" fmla="*/ 0 h 504000"/>
              <a:gd name="connsiteX1" fmla="*/ 419998 w 504000"/>
              <a:gd name="connsiteY1" fmla="*/ 0 h 504000"/>
              <a:gd name="connsiteX2" fmla="*/ 504000 w 504000"/>
              <a:gd name="connsiteY2" fmla="*/ 84002 h 504000"/>
              <a:gd name="connsiteX3" fmla="*/ 504000 w 504000"/>
              <a:gd name="connsiteY3" fmla="*/ 419998 h 504000"/>
              <a:gd name="connsiteX4" fmla="*/ 419998 w 504000"/>
              <a:gd name="connsiteY4" fmla="*/ 504000 h 504000"/>
              <a:gd name="connsiteX5" fmla="*/ 84002 w 504000"/>
              <a:gd name="connsiteY5" fmla="*/ 504000 h 504000"/>
              <a:gd name="connsiteX6" fmla="*/ 0 w 504000"/>
              <a:gd name="connsiteY6" fmla="*/ 419998 h 504000"/>
              <a:gd name="connsiteX7" fmla="*/ 0 w 504000"/>
              <a:gd name="connsiteY7" fmla="*/ 84002 h 504000"/>
              <a:gd name="connsiteX8" fmla="*/ 84002 w 504000"/>
              <a:gd name="connsiteY8" fmla="*/ 0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4000" h="504000">
                <a:moveTo>
                  <a:pt x="84002" y="0"/>
                </a:moveTo>
                <a:lnTo>
                  <a:pt x="419998" y="0"/>
                </a:lnTo>
                <a:cubicBezTo>
                  <a:pt x="466391" y="0"/>
                  <a:pt x="504000" y="37609"/>
                  <a:pt x="504000" y="84002"/>
                </a:cubicBezTo>
                <a:lnTo>
                  <a:pt x="504000" y="419998"/>
                </a:lnTo>
                <a:cubicBezTo>
                  <a:pt x="504000" y="466391"/>
                  <a:pt x="466391" y="504000"/>
                  <a:pt x="419998" y="504000"/>
                </a:cubicBezTo>
                <a:lnTo>
                  <a:pt x="84002" y="504000"/>
                </a:lnTo>
                <a:cubicBezTo>
                  <a:pt x="37609" y="504000"/>
                  <a:pt x="0" y="466391"/>
                  <a:pt x="0" y="419998"/>
                </a:cubicBezTo>
                <a:lnTo>
                  <a:pt x="0" y="84002"/>
                </a:lnTo>
                <a:cubicBezTo>
                  <a:pt x="0" y="37609"/>
                  <a:pt x="37609" y="0"/>
                  <a:pt x="84002" y="0"/>
                </a:cubicBezTo>
                <a:close/>
              </a:path>
            </a:pathLst>
          </a:custGeom>
          <a:ln>
            <a:noFill/>
          </a:ln>
        </p:spPr>
      </p:pic>
      <p:sp>
        <p:nvSpPr>
          <p:cNvPr id="33" name="サブタイトル 2">
            <a:extLst>
              <a:ext uri="{FF2B5EF4-FFF2-40B4-BE49-F238E27FC236}">
                <a16:creationId xmlns:a16="http://schemas.microsoft.com/office/drawing/2014/main" id="{AA5CAC1E-0324-80A8-0F6E-36A7719A3DC5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初期設定を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35250781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B9057E52-4AD8-A028-B0A0-DC6A4EFDD8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24084" y="2387157"/>
            <a:ext cx="2017951" cy="4346825"/>
          </a:xfrm>
          <a:prstGeom prst="rect">
            <a:avLst/>
          </a:prstGeom>
        </p:spPr>
      </p:pic>
      <p:pic>
        <p:nvPicPr>
          <p:cNvPr id="16" name="図 15" descr="テキスト, 手紙&#10;&#10;自動的に生成された説明">
            <a:extLst>
              <a:ext uri="{FF2B5EF4-FFF2-40B4-BE49-F238E27FC236}">
                <a16:creationId xmlns:a16="http://schemas.microsoft.com/office/drawing/2014/main" id="{DF2C416D-7E51-D862-6124-7E59B8B6B3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1221" y="2399189"/>
            <a:ext cx="1993846" cy="4319998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48609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利用規約を読み「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契約に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同意して次へ進む」をダブルタップ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252545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赤枠内を記入、選択し「次へ」をダブルタップ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D7D58969-52A4-4A4F-C6A0-42C832E1725D}"/>
              </a:ext>
            </a:extLst>
          </p:cNvPr>
          <p:cNvSpPr/>
          <p:nvPr/>
        </p:nvSpPr>
        <p:spPr>
          <a:xfrm>
            <a:off x="1610760" y="5970920"/>
            <a:ext cx="1670724" cy="478573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22C8AD03-410F-077E-4E52-EB837E15C927}"/>
              </a:ext>
            </a:extLst>
          </p:cNvPr>
          <p:cNvSpPr/>
          <p:nvPr/>
        </p:nvSpPr>
        <p:spPr>
          <a:xfrm>
            <a:off x="5779201" y="3429000"/>
            <a:ext cx="1701800" cy="1790700"/>
          </a:xfrm>
          <a:prstGeom prst="roundRect">
            <a:avLst>
              <a:gd name="adj" fmla="val 102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9" name="四角形: 角を丸くする 28">
            <a:extLst>
              <a:ext uri="{FF2B5EF4-FFF2-40B4-BE49-F238E27FC236}">
                <a16:creationId xmlns:a16="http://schemas.microsoft.com/office/drawing/2014/main" id="{38E299F9-412F-2D6F-827C-264BF0114C3A}"/>
              </a:ext>
            </a:extLst>
          </p:cNvPr>
          <p:cNvSpPr/>
          <p:nvPr/>
        </p:nvSpPr>
        <p:spPr>
          <a:xfrm>
            <a:off x="6668294" y="6060010"/>
            <a:ext cx="788593" cy="339813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サブタイトル 2">
            <a:extLst>
              <a:ext uri="{FF2B5EF4-FFF2-40B4-BE49-F238E27FC236}">
                <a16:creationId xmlns:a16="http://schemas.microsoft.com/office/drawing/2014/main" id="{D0FD2B37-B908-D14B-597B-6478E12F7446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初期設定を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23850607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81D8DEF2-F2F1-5DC3-9E9E-7D056BC17E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25931" y="2385558"/>
            <a:ext cx="2017951" cy="4340728"/>
          </a:xfrm>
          <a:prstGeom prst="rect">
            <a:avLst/>
          </a:prstGeom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558E0221-5FA8-39A2-616B-7A63B864AD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32112" y="2394566"/>
            <a:ext cx="2017951" cy="4340728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63838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赤枠内を入力し「次へ」をダブルタップ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925684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キャラクター</a:t>
            </a:r>
            <a:b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覧」をダブルタップ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D7D58969-52A4-4A4F-C6A0-42C832E1725D}"/>
              </a:ext>
            </a:extLst>
          </p:cNvPr>
          <p:cNvSpPr/>
          <p:nvPr/>
        </p:nvSpPr>
        <p:spPr>
          <a:xfrm>
            <a:off x="1591312" y="3372591"/>
            <a:ext cx="1667742" cy="1732809"/>
          </a:xfrm>
          <a:prstGeom prst="roundRect">
            <a:avLst>
              <a:gd name="adj" fmla="val 650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22C8AD03-410F-077E-4E52-EB837E15C927}"/>
              </a:ext>
            </a:extLst>
          </p:cNvPr>
          <p:cNvSpPr/>
          <p:nvPr/>
        </p:nvSpPr>
        <p:spPr>
          <a:xfrm>
            <a:off x="5991334" y="5194321"/>
            <a:ext cx="1308100" cy="3398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A23F436C-50BD-9739-E2FA-AB33AF6086C7}"/>
              </a:ext>
            </a:extLst>
          </p:cNvPr>
          <p:cNvSpPr/>
          <p:nvPr/>
        </p:nvSpPr>
        <p:spPr>
          <a:xfrm>
            <a:off x="2381822" y="6027581"/>
            <a:ext cx="1005836" cy="413162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サブタイトル 2">
            <a:extLst>
              <a:ext uri="{FF2B5EF4-FFF2-40B4-BE49-F238E27FC236}">
                <a16:creationId xmlns:a16="http://schemas.microsoft.com/office/drawing/2014/main" id="{5F356162-A248-B763-AFB6-BC29F2BCEE20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初期設定を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12020371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図 28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0972C659-BE74-E37C-99C8-3E4926343B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3179" y="2410491"/>
            <a:ext cx="1993845" cy="431999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図 1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D16F9C02-FAC2-141F-4C8C-3D657A0F49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43835" y="2410491"/>
            <a:ext cx="1993845" cy="431999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288905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右から左にスクロールして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キャラクターを選び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252545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選択したいキャラクターを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ダブルタップし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18" name="矢印: 右 17">
            <a:extLst>
              <a:ext uri="{FF2B5EF4-FFF2-40B4-BE49-F238E27FC236}">
                <a16:creationId xmlns:a16="http://schemas.microsoft.com/office/drawing/2014/main" id="{D3036FA5-E4A6-A015-0B3D-9A69098EC98D}"/>
              </a:ext>
            </a:extLst>
          </p:cNvPr>
          <p:cNvSpPr/>
          <p:nvPr/>
        </p:nvSpPr>
        <p:spPr>
          <a:xfrm rot="10800000">
            <a:off x="1670736" y="4887000"/>
            <a:ext cx="1540042" cy="520897"/>
          </a:xfrm>
          <a:prstGeom prst="rightArrow">
            <a:avLst/>
          </a:prstGeom>
          <a:solidFill>
            <a:srgbClr val="FFFFFF">
              <a:alpha val="69804"/>
            </a:srgbClr>
          </a:solidFill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601DBBD2-B306-87A8-9DCB-EF92CD7B567E}"/>
              </a:ext>
            </a:extLst>
          </p:cNvPr>
          <p:cNvSpPr/>
          <p:nvPr/>
        </p:nvSpPr>
        <p:spPr>
          <a:xfrm>
            <a:off x="5803900" y="3074012"/>
            <a:ext cx="508000" cy="55520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サブタイトル 2">
            <a:extLst>
              <a:ext uri="{FF2B5EF4-FFF2-40B4-BE49-F238E27FC236}">
                <a16:creationId xmlns:a16="http://schemas.microsoft.com/office/drawing/2014/main" id="{9F581EDB-3FB2-A6DE-FA05-E96DA0DCC002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初期設定を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25081989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グラフィカル ユーザー インターフェイス, テキスト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D91D31ED-3DF1-16C7-FD83-BFB5ADDCBB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6927" y="2420009"/>
            <a:ext cx="1990146" cy="4311983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❾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キャラクター決定」を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ダブルタップします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5CBCC18-DA56-9677-880A-6A56DAEDCDDA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BDA923AA-E21D-639D-8449-27D6874C916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20" name="四角形: 角を丸くする 19">
            <a:extLst>
              <a:ext uri="{FF2B5EF4-FFF2-40B4-BE49-F238E27FC236}">
                <a16:creationId xmlns:a16="http://schemas.microsoft.com/office/drawing/2014/main" id="{E4B679C4-F9A7-93C0-91A3-E57C52A406C2}"/>
              </a:ext>
            </a:extLst>
          </p:cNvPr>
          <p:cNvSpPr/>
          <p:nvPr/>
        </p:nvSpPr>
        <p:spPr>
          <a:xfrm>
            <a:off x="3949445" y="5898927"/>
            <a:ext cx="1245110" cy="335236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サブタイトル 2">
            <a:extLst>
              <a:ext uri="{FF2B5EF4-FFF2-40B4-BE49-F238E27FC236}">
                <a16:creationId xmlns:a16="http://schemas.microsoft.com/office/drawing/2014/main" id="{BE8183AE-629B-51E2-11E3-5179A22563FF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初期設定をしましょう</a:t>
            </a:r>
          </a:p>
        </p:txBody>
      </p:sp>
      <p:pic>
        <p:nvPicPr>
          <p:cNvPr id="2" name="図 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D18F5735-4498-5E8E-4997-B712414A44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73228" y="2429285"/>
            <a:ext cx="1993845" cy="431999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005500BD-24B3-516B-5B34-7DC2FC1A1603}"/>
              </a:ext>
            </a:extLst>
          </p:cNvPr>
          <p:cNvSpPr/>
          <p:nvPr/>
        </p:nvSpPr>
        <p:spPr>
          <a:xfrm>
            <a:off x="3908805" y="5354220"/>
            <a:ext cx="1308100" cy="3398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982735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E0F27662-3F05-9D09-E23E-AA59D0A2A7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7701" y="2408798"/>
            <a:ext cx="2017951" cy="4346825"/>
          </a:xfrm>
          <a:prstGeom prst="rect">
            <a:avLst/>
          </a:prstGeom>
        </p:spPr>
      </p:pic>
      <p:pic>
        <p:nvPicPr>
          <p:cNvPr id="24" name="図 23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54BB7CA6-C368-EA86-DA9A-73EA563401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6374" y="2410491"/>
            <a:ext cx="1993844" cy="4319995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❿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4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このキャラクターで</a:t>
            </a:r>
            <a:b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</a:b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歩き始める」をダブルタップ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⓫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8" y="1512998"/>
            <a:ext cx="3536871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説明が表示されるので、最後の画面まで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クロールします</a:t>
            </a:r>
            <a:endParaRPr lang="ja-JP" altLang="en-US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601DBBD2-B306-87A8-9DCB-EF92CD7B567E}"/>
              </a:ext>
            </a:extLst>
          </p:cNvPr>
          <p:cNvSpPr/>
          <p:nvPr/>
        </p:nvSpPr>
        <p:spPr>
          <a:xfrm>
            <a:off x="1638300" y="6005182"/>
            <a:ext cx="1600200" cy="45618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サブタイトル 2">
            <a:extLst>
              <a:ext uri="{FF2B5EF4-FFF2-40B4-BE49-F238E27FC236}">
                <a16:creationId xmlns:a16="http://schemas.microsoft.com/office/drawing/2014/main" id="{17AE6FE5-1A62-6FE2-C242-880BFFC831BE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初期設定をしましょう</a:t>
            </a:r>
          </a:p>
        </p:txBody>
      </p:sp>
      <p:sp>
        <p:nvSpPr>
          <p:cNvPr id="27" name="矢印: 右 26">
            <a:extLst>
              <a:ext uri="{FF2B5EF4-FFF2-40B4-BE49-F238E27FC236}">
                <a16:creationId xmlns:a16="http://schemas.microsoft.com/office/drawing/2014/main" id="{458C33C2-9840-1365-6045-892B5E055E7B}"/>
              </a:ext>
            </a:extLst>
          </p:cNvPr>
          <p:cNvSpPr/>
          <p:nvPr/>
        </p:nvSpPr>
        <p:spPr>
          <a:xfrm rot="10800000">
            <a:off x="5863275" y="5237523"/>
            <a:ext cx="1540042" cy="520897"/>
          </a:xfrm>
          <a:prstGeom prst="rightArrow">
            <a:avLst/>
          </a:prstGeom>
          <a:solidFill>
            <a:srgbClr val="FFFFFF">
              <a:alpha val="69804"/>
            </a:srgbClr>
          </a:solidFill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802730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グラフィカル ユーザー インターフェイス, テキスト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D91D31ED-3DF1-16C7-FD83-BFB5ADDCBB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6927" y="2420009"/>
            <a:ext cx="1990146" cy="4311983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⓬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スタート！」をダブルタップします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5CBCC18-DA56-9677-880A-6A56DAEDCDDA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BDA923AA-E21D-639D-8449-27D6874C916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20" name="四角形: 角を丸くする 19">
            <a:extLst>
              <a:ext uri="{FF2B5EF4-FFF2-40B4-BE49-F238E27FC236}">
                <a16:creationId xmlns:a16="http://schemas.microsoft.com/office/drawing/2014/main" id="{E4B679C4-F9A7-93C0-91A3-E57C52A406C2}"/>
              </a:ext>
            </a:extLst>
          </p:cNvPr>
          <p:cNvSpPr/>
          <p:nvPr/>
        </p:nvSpPr>
        <p:spPr>
          <a:xfrm>
            <a:off x="3949445" y="5898927"/>
            <a:ext cx="1245110" cy="335236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サブタイトル 2">
            <a:extLst>
              <a:ext uri="{FF2B5EF4-FFF2-40B4-BE49-F238E27FC236}">
                <a16:creationId xmlns:a16="http://schemas.microsoft.com/office/drawing/2014/main" id="{BE8183AE-629B-51E2-11E3-5179A22563FF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初期設定を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26635424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 descr="テキスト&#10;&#10;自動的に生成された説明">
            <a:extLst>
              <a:ext uri="{FF2B5EF4-FFF2-40B4-BE49-F238E27FC236}">
                <a16:creationId xmlns:a16="http://schemas.microsoft.com/office/drawing/2014/main" id="{69A0ED0B-A93D-591F-2FC0-0FC3F12F31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7487" y="2420009"/>
            <a:ext cx="2449025" cy="4356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BA02DCA3-2866-2F5B-195D-21C2FB8E574D}"/>
              </a:ext>
            </a:extLst>
          </p:cNvPr>
          <p:cNvSpPr/>
          <p:nvPr/>
        </p:nvSpPr>
        <p:spPr>
          <a:xfrm>
            <a:off x="3584271" y="4800212"/>
            <a:ext cx="1952941" cy="468724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⓭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許可しない」または</a:t>
            </a: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許可」をダブルタップします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5CBCC18-DA56-9677-880A-6A56DAEDCDDA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BDA923AA-E21D-639D-8449-27D6874C916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23" name="サブタイトル 2">
            <a:extLst>
              <a:ext uri="{FF2B5EF4-FFF2-40B4-BE49-F238E27FC236}">
                <a16:creationId xmlns:a16="http://schemas.microsoft.com/office/drawing/2014/main" id="{BE8183AE-629B-51E2-11E3-5179A22563FF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その他必要な初期設定をしましょう　</a:t>
            </a:r>
          </a:p>
        </p:txBody>
      </p:sp>
    </p:spTree>
    <p:extLst>
      <p:ext uri="{BB962C8B-B14F-4D97-AF65-F5344CB8AC3E}">
        <p14:creationId xmlns:p14="http://schemas.microsoft.com/office/powerpoint/2010/main" val="33789922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AD5EBD5C-2F79-048B-F607-0B58E7C4EA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7486" y="2420009"/>
            <a:ext cx="2449026" cy="4356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906D4853-B50B-7282-FD39-CB1622136CDC}"/>
              </a:ext>
            </a:extLst>
          </p:cNvPr>
          <p:cNvSpPr/>
          <p:nvPr/>
        </p:nvSpPr>
        <p:spPr>
          <a:xfrm>
            <a:off x="3559960" y="4537524"/>
            <a:ext cx="2012683" cy="707023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⓮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7923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1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度だけ許可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また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は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App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使用中は許可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ダブルタップ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します</a:t>
            </a:r>
            <a:endParaRPr lang="ja-JP" altLang="en-US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5CBCC18-DA56-9677-880A-6A56DAEDCDDA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BDA923AA-E21D-639D-8449-27D6874C916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23" name="サブタイトル 2">
            <a:extLst>
              <a:ext uri="{FF2B5EF4-FFF2-40B4-BE49-F238E27FC236}">
                <a16:creationId xmlns:a16="http://schemas.microsoft.com/office/drawing/2014/main" id="{BE8183AE-629B-51E2-11E3-5179A22563FF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その他必要な初期設定をしましょう　</a:t>
            </a:r>
          </a:p>
        </p:txBody>
      </p:sp>
    </p:spTree>
    <p:extLst>
      <p:ext uri="{BB962C8B-B14F-4D97-AF65-F5344CB8AC3E}">
        <p14:creationId xmlns:p14="http://schemas.microsoft.com/office/powerpoint/2010/main" val="18165114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 descr="ダイアグラム&#10;&#10;自動的に生成された説明">
            <a:extLst>
              <a:ext uri="{FF2B5EF4-FFF2-40B4-BE49-F238E27FC236}">
                <a16:creationId xmlns:a16="http://schemas.microsoft.com/office/drawing/2014/main" id="{9633AC8D-9469-822B-09E4-0295865BA0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3431" y="2276526"/>
            <a:ext cx="2449025" cy="4356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図 8" descr="テキスト, ホワイトボード&#10;&#10;自動的に生成された説明">
            <a:extLst>
              <a:ext uri="{FF2B5EF4-FFF2-40B4-BE49-F238E27FC236}">
                <a16:creationId xmlns:a16="http://schemas.microsoft.com/office/drawing/2014/main" id="{51370493-34B6-E82D-0B7F-B8BE72F7F4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8420" y="2276526"/>
            <a:ext cx="2449025" cy="43560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C0B55FB9-0ECD-7B8C-D399-7AE9236F981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⓯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933" y="1512998"/>
            <a:ext cx="292292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をダブルタップ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⓰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が表示されれば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完了です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2309889" y="4791549"/>
            <a:ext cx="1034890" cy="442188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14760BF-CA4F-ED5C-FCFD-5D4B8EFD68F2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</a:t>
            </a:r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</a:t>
            </a:r>
          </a:p>
        </p:txBody>
      </p:sp>
      <p:sp>
        <p:nvSpPr>
          <p:cNvPr id="18" name="サブタイトル 2">
            <a:extLst>
              <a:ext uri="{FF2B5EF4-FFF2-40B4-BE49-F238E27FC236}">
                <a16:creationId xmlns:a16="http://schemas.microsoft.com/office/drawing/2014/main" id="{F6494174-E84E-0942-5C29-A34E126893E4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その他必要な初期設定をしましょう　</a:t>
            </a:r>
          </a:p>
        </p:txBody>
      </p:sp>
    </p:spTree>
    <p:extLst>
      <p:ext uri="{BB962C8B-B14F-4D97-AF65-F5344CB8AC3E}">
        <p14:creationId xmlns:p14="http://schemas.microsoft.com/office/powerpoint/2010/main" val="5862909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61341" y="2998159"/>
            <a:ext cx="1447648" cy="8616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D3900876-61AC-B200-5FF1-9017F3C8D013}"/>
              </a:ext>
            </a:extLst>
          </p:cNvPr>
          <p:cNvCxnSpPr>
            <a:cxnSpLocks/>
          </p:cNvCxnSpPr>
          <p:nvPr/>
        </p:nvCxnSpPr>
        <p:spPr>
          <a:xfrm flipV="1">
            <a:off x="1699621" y="360"/>
            <a:ext cx="0" cy="685728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E71F3FF3-9B53-647B-1EFD-9CC13128F77F}"/>
              </a:ext>
            </a:extLst>
          </p:cNvPr>
          <p:cNvSpPr/>
          <p:nvPr/>
        </p:nvSpPr>
        <p:spPr>
          <a:xfrm>
            <a:off x="2547255" y="1393750"/>
            <a:ext cx="6461989" cy="461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 PROJECT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とは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P2</a:t>
            </a: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とは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P3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B5E5584C-B88E-EBFE-A0F6-3F04AA991F52}"/>
              </a:ext>
            </a:extLst>
          </p:cNvPr>
          <p:cNvSpPr/>
          <p:nvPr/>
        </p:nvSpPr>
        <p:spPr>
          <a:xfrm>
            <a:off x="1871664" y="1393750"/>
            <a:ext cx="675592" cy="5299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US" altLang="ja-JP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Ａ</a:t>
            </a:r>
            <a:r>
              <a:rPr lang="en-US" altLang="ja-JP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1-</a:t>
            </a:r>
            <a:r>
              <a:rPr lang="ja-JP" altLang="en-US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Ｂ</a:t>
            </a:r>
            <a:endParaRPr lang="en-US" altLang="ja-JP" dirty="0">
              <a:ln w="0"/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DC56853D-9DC6-9A21-A6A3-E75D4DF87A48}"/>
              </a:ext>
            </a:extLst>
          </p:cNvPr>
          <p:cNvSpPr txBox="1"/>
          <p:nvPr/>
        </p:nvSpPr>
        <p:spPr>
          <a:xfrm>
            <a:off x="1818414" y="932095"/>
            <a:ext cx="6839282" cy="461655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583" algn="l"/>
              </a:tabLst>
            </a:pPr>
            <a:r>
              <a:rPr lang="en-US" altLang="ja-JP" sz="24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1. FUN+WALK PROJECT</a:t>
            </a:r>
            <a:r>
              <a:rPr lang="ja-JP" altLang="en-US" sz="24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を知りましょう 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AE84AAFE-B98B-E1F7-1F0D-5A1A3FBA4969}"/>
              </a:ext>
            </a:extLst>
          </p:cNvPr>
          <p:cNvSpPr/>
          <p:nvPr/>
        </p:nvSpPr>
        <p:spPr>
          <a:xfrm>
            <a:off x="2547256" y="3146493"/>
            <a:ext cx="6461990" cy="461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インストール方法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P5</a:t>
            </a: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利用設定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P8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A80D8DC4-D47C-996A-647C-B7753276A43D}"/>
              </a:ext>
            </a:extLst>
          </p:cNvPr>
          <p:cNvSpPr/>
          <p:nvPr/>
        </p:nvSpPr>
        <p:spPr>
          <a:xfrm>
            <a:off x="1871664" y="3146493"/>
            <a:ext cx="675592" cy="5299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US" altLang="ja-JP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Ａ</a:t>
            </a:r>
            <a:r>
              <a:rPr lang="en-US" altLang="ja-JP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2-</a:t>
            </a:r>
            <a:r>
              <a:rPr lang="ja-JP" altLang="en-US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Ｂ</a:t>
            </a:r>
            <a:endParaRPr lang="en-US" altLang="ja-JP" dirty="0">
              <a:ln w="0"/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B1B4D304-6A2B-8545-3E1C-AC6033AFB0BE}"/>
              </a:ext>
            </a:extLst>
          </p:cNvPr>
          <p:cNvSpPr txBox="1"/>
          <p:nvPr/>
        </p:nvSpPr>
        <p:spPr>
          <a:xfrm>
            <a:off x="1818414" y="2684838"/>
            <a:ext cx="6839282" cy="461655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583" algn="l"/>
              </a:tabLst>
            </a:pPr>
            <a:r>
              <a:rPr lang="en-US" altLang="ja-JP" sz="24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2. FUN+WALK</a:t>
            </a:r>
            <a:r>
              <a:rPr lang="ja-JP" altLang="en-US" sz="24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アプリの準備をしましょう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D858A9A1-0EE0-922A-1E80-DE78544AC0DA}"/>
              </a:ext>
            </a:extLst>
          </p:cNvPr>
          <p:cNvSpPr/>
          <p:nvPr/>
        </p:nvSpPr>
        <p:spPr>
          <a:xfrm>
            <a:off x="2547256" y="4827606"/>
            <a:ext cx="6461990" cy="461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dist">
              <a:lnSpc>
                <a:spcPct val="150000"/>
              </a:lnSpc>
            </a:pP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キャラクターの変身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…P19</a:t>
            </a:r>
          </a:p>
          <a:p>
            <a:pPr algn="dist">
              <a:lnSpc>
                <a:spcPct val="150000"/>
              </a:lnSpc>
            </a:pP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キャラクターの変更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…P22</a:t>
            </a:r>
          </a:p>
          <a:p>
            <a:pPr algn="dist">
              <a:lnSpc>
                <a:spcPct val="150000"/>
              </a:lnSpc>
            </a:pP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自分に合った目標設定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P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5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8EC94AF1-B55B-B3B3-ED2C-5581D32EC26A}"/>
              </a:ext>
            </a:extLst>
          </p:cNvPr>
          <p:cNvSpPr/>
          <p:nvPr/>
        </p:nvSpPr>
        <p:spPr>
          <a:xfrm>
            <a:off x="1871664" y="4827606"/>
            <a:ext cx="675592" cy="5299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US" altLang="ja-JP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-A</a:t>
            </a:r>
          </a:p>
          <a:p>
            <a:pPr>
              <a:lnSpc>
                <a:spcPct val="150000"/>
              </a:lnSpc>
            </a:pPr>
            <a:r>
              <a:rPr lang="en-US" altLang="ja-JP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-B</a:t>
            </a:r>
          </a:p>
          <a:p>
            <a:pPr>
              <a:lnSpc>
                <a:spcPct val="150000"/>
              </a:lnSpc>
            </a:pPr>
            <a:r>
              <a:rPr lang="en-US" altLang="ja-JP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-C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ED606E7-08FF-C69B-66C9-922616787F3A}"/>
              </a:ext>
            </a:extLst>
          </p:cNvPr>
          <p:cNvSpPr txBox="1"/>
          <p:nvPr/>
        </p:nvSpPr>
        <p:spPr>
          <a:xfrm>
            <a:off x="1818414" y="4376709"/>
            <a:ext cx="6839282" cy="461655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583" algn="l"/>
              </a:tabLst>
            </a:pPr>
            <a:r>
              <a:rPr lang="en-US" altLang="ja-JP" sz="24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3. FUN+WALK</a:t>
            </a:r>
            <a:r>
              <a:rPr lang="ja-JP" altLang="en-US" sz="24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アプリを活用してみましょう</a:t>
            </a:r>
          </a:p>
        </p:txBody>
      </p:sp>
    </p:spTree>
    <p:extLst>
      <p:ext uri="{BB962C8B-B14F-4D97-AF65-F5344CB8AC3E}">
        <p14:creationId xmlns:p14="http://schemas.microsoft.com/office/powerpoint/2010/main" val="6739909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D6DAEEED-4136-E4D9-C528-FE04AD3BEA68}"/>
              </a:ext>
            </a:extLst>
          </p:cNvPr>
          <p:cNvSpPr txBox="1">
            <a:spLocks/>
          </p:cNvSpPr>
          <p:nvPr/>
        </p:nvSpPr>
        <p:spPr>
          <a:xfrm>
            <a:off x="1843314" y="2313608"/>
            <a:ext cx="6534181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>
              <a:lnSpc>
                <a:spcPct val="120000"/>
              </a:lnSpc>
            </a:pP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を</a:t>
            </a:r>
          </a:p>
          <a:p>
            <a:pPr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活用してみましょう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1D2398E-0F29-8B3C-29FC-5D63BFB6C773}"/>
              </a:ext>
            </a:extLst>
          </p:cNvPr>
          <p:cNvSpPr txBox="1"/>
          <p:nvPr/>
        </p:nvSpPr>
        <p:spPr>
          <a:xfrm>
            <a:off x="529389" y="1838448"/>
            <a:ext cx="1552073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88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</a:t>
            </a:r>
          </a:p>
          <a:p>
            <a:pPr algn="ctr"/>
            <a:endParaRPr kumimoji="1" lang="ja-JP" altLang="en-US" sz="8800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48001A7-59D2-3226-F629-1F0588A52F4F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7867147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図 32">
            <a:extLst>
              <a:ext uri="{FF2B5EF4-FFF2-40B4-BE49-F238E27FC236}">
                <a16:creationId xmlns:a16="http://schemas.microsoft.com/office/drawing/2014/main" id="{7C197434-9605-D86B-82DB-C239BF9F75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8256" y="4720834"/>
            <a:ext cx="1188823" cy="1536325"/>
          </a:xfrm>
          <a:prstGeom prst="rect">
            <a:avLst/>
          </a:prstGeom>
        </p:spPr>
      </p:pic>
      <p:pic>
        <p:nvPicPr>
          <p:cNvPr id="30" name="図 29">
            <a:extLst>
              <a:ext uri="{FF2B5EF4-FFF2-40B4-BE49-F238E27FC236}">
                <a16:creationId xmlns:a16="http://schemas.microsoft.com/office/drawing/2014/main" id="{0E64C026-BBC9-7D0B-BE9F-E6B71196B7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89590" y="4461037"/>
            <a:ext cx="1182727" cy="1536325"/>
          </a:xfrm>
          <a:prstGeom prst="rect">
            <a:avLst/>
          </a:prstGeom>
        </p:spPr>
      </p:pic>
      <p:pic>
        <p:nvPicPr>
          <p:cNvPr id="26" name="図 25">
            <a:extLst>
              <a:ext uri="{FF2B5EF4-FFF2-40B4-BE49-F238E27FC236}">
                <a16:creationId xmlns:a16="http://schemas.microsoft.com/office/drawing/2014/main" id="{83E6C84E-C6BC-6B13-3265-D24C0AC972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95514" y="4473914"/>
            <a:ext cx="1207113" cy="1432684"/>
          </a:xfrm>
          <a:prstGeom prst="rect">
            <a:avLst/>
          </a:prstGeom>
        </p:spPr>
      </p:pic>
      <p:pic>
        <p:nvPicPr>
          <p:cNvPr id="22" name="図 21">
            <a:extLst>
              <a:ext uri="{FF2B5EF4-FFF2-40B4-BE49-F238E27FC236}">
                <a16:creationId xmlns:a16="http://schemas.microsoft.com/office/drawing/2014/main" id="{AA11219E-B436-46FB-74B6-028396EE71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319" y="4712161"/>
            <a:ext cx="1188823" cy="1603387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A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2468A7-68C3-F695-4B25-1F00DD556FC3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</a:t>
            </a:r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A30B04C-B7E6-77AA-9F2E-CFF0C1709B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541997"/>
            <a:ext cx="2118365" cy="4479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3745AC5B-6707-B424-3B6D-EF2343646F7A}"/>
              </a:ext>
            </a:extLst>
          </p:cNvPr>
          <p:cNvSpPr txBox="1"/>
          <p:nvPr/>
        </p:nvSpPr>
        <p:spPr>
          <a:xfrm>
            <a:off x="3510136" y="1628800"/>
            <a:ext cx="5166317" cy="8294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>
              <a:lnSpc>
                <a:spcPct val="130000"/>
              </a:lnSpc>
            </a:pPr>
            <a:r>
              <a:rPr lang="ja-JP" altLang="en-US" sz="2000" i="0" dirty="0">
                <a:solidFill>
                  <a:schemeClr val="accent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どんどん歩いて好きなご当地キャラを</a:t>
            </a:r>
            <a:endParaRPr lang="en-US" altLang="ja-JP" sz="2000" i="0" dirty="0">
              <a:solidFill>
                <a:schemeClr val="accent1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l" fontAlgn="base">
              <a:lnSpc>
                <a:spcPct val="130000"/>
              </a:lnSpc>
            </a:pPr>
            <a:r>
              <a:rPr lang="ja-JP" altLang="en-US" sz="2000" i="0" dirty="0">
                <a:solidFill>
                  <a:schemeClr val="accent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変身させましょう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4A9D4C07-DD14-DF21-10CF-6DECDE22B077}"/>
              </a:ext>
            </a:extLst>
          </p:cNvPr>
          <p:cNvSpPr txBox="1"/>
          <p:nvPr/>
        </p:nvSpPr>
        <p:spPr>
          <a:xfrm>
            <a:off x="3510137" y="2492896"/>
            <a:ext cx="5166316" cy="18720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好きなご当地キャラを選んで歩くと、歩数にあわせてキャラクター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</a:t>
            </a: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変身させることができます</a:t>
            </a:r>
            <a:b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毎日たくさん歩いて、まだ見たことのない、</a:t>
            </a:r>
            <a:endParaRPr lang="en-US" altLang="ja-JP" b="0" i="0" dirty="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ここでしか見ることのできない</a:t>
            </a:r>
            <a:endParaRPr lang="en-US" altLang="ja-JP" b="0" i="0" dirty="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ご当地キャラの姿に出会ってみましょう</a:t>
            </a:r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4E7C8230-A239-44B6-A5BA-DE1247A1FFA8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>
                <a:solidFill>
                  <a:srgbClr val="4472C4"/>
                </a:solidFill>
              </a:rPr>
              <a:t>キャラクターの変身</a:t>
            </a: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35016225-46BF-071F-82C7-FB07C291C90E}"/>
              </a:ext>
            </a:extLst>
          </p:cNvPr>
          <p:cNvSpPr/>
          <p:nvPr/>
        </p:nvSpPr>
        <p:spPr>
          <a:xfrm>
            <a:off x="6096319" y="5808573"/>
            <a:ext cx="1160250" cy="42542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BF3214C5-02AF-25DB-9BB7-04257F6191D5}"/>
              </a:ext>
            </a:extLst>
          </p:cNvPr>
          <p:cNvSpPr txBox="1"/>
          <p:nvPr/>
        </p:nvSpPr>
        <p:spPr>
          <a:xfrm>
            <a:off x="6060053" y="5755160"/>
            <a:ext cx="12901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200" b="1" dirty="0">
                <a:solidFill>
                  <a:schemeClr val="bg1"/>
                </a:solidFill>
              </a:rPr>
              <a:t>ジンギスカンのジンくん</a:t>
            </a: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F197837B-8A36-BB78-A64E-3D7D18F1A55A}"/>
              </a:ext>
            </a:extLst>
          </p:cNvPr>
          <p:cNvSpPr/>
          <p:nvPr/>
        </p:nvSpPr>
        <p:spPr>
          <a:xfrm>
            <a:off x="7449633" y="5526177"/>
            <a:ext cx="1097467" cy="2823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6463D975-5D38-83D8-13EC-6266EAD8DCE5}"/>
              </a:ext>
            </a:extLst>
          </p:cNvPr>
          <p:cNvSpPr txBox="1"/>
          <p:nvPr/>
        </p:nvSpPr>
        <p:spPr>
          <a:xfrm>
            <a:off x="7488543" y="5513854"/>
            <a:ext cx="1019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200" b="1" dirty="0">
                <a:solidFill>
                  <a:schemeClr val="bg1"/>
                </a:solidFill>
              </a:rPr>
              <a:t>けしかわん</a:t>
            </a: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24125B18-EDD6-B05B-2C00-78D64E60EFC6}"/>
              </a:ext>
            </a:extLst>
          </p:cNvPr>
          <p:cNvSpPr txBox="1"/>
          <p:nvPr/>
        </p:nvSpPr>
        <p:spPr>
          <a:xfrm>
            <a:off x="4892798" y="5599215"/>
            <a:ext cx="9535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200" b="1" dirty="0">
                <a:solidFill>
                  <a:schemeClr val="bg1"/>
                </a:solidFill>
              </a:rPr>
              <a:t>コアックマ</a:t>
            </a: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64566F20-B129-24F4-D066-D242DE2CA6B7}"/>
              </a:ext>
            </a:extLst>
          </p:cNvPr>
          <p:cNvSpPr txBox="1"/>
          <p:nvPr/>
        </p:nvSpPr>
        <p:spPr>
          <a:xfrm>
            <a:off x="3618485" y="5890114"/>
            <a:ext cx="9535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200" b="1" dirty="0">
                <a:solidFill>
                  <a:schemeClr val="bg1"/>
                </a:solidFill>
              </a:rPr>
              <a:t>東横ハチ公</a:t>
            </a:r>
          </a:p>
        </p:txBody>
      </p:sp>
    </p:spTree>
    <p:extLst>
      <p:ext uri="{BB962C8B-B14F-4D97-AF65-F5344CB8AC3E}">
        <p14:creationId xmlns:p14="http://schemas.microsoft.com/office/powerpoint/2010/main" val="40255292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図 24" descr="グラフィカル ユーザー インターフェイス&#10;&#10;自動的に生成された説明">
            <a:extLst>
              <a:ext uri="{FF2B5EF4-FFF2-40B4-BE49-F238E27FC236}">
                <a16:creationId xmlns:a16="http://schemas.microsoft.com/office/drawing/2014/main" id="{585E255F-135F-AA62-2F3A-3F20E7DDC1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5942" y="2413668"/>
            <a:ext cx="1997513" cy="43279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" name="図 23" descr="ダイアグラム&#10;&#10;自動的に生成された説明">
            <a:extLst>
              <a:ext uri="{FF2B5EF4-FFF2-40B4-BE49-F238E27FC236}">
                <a16:creationId xmlns:a16="http://schemas.microsoft.com/office/drawing/2014/main" id="{66442C59-3399-BF53-7B98-B1A0E75CAE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8161" y="2406591"/>
            <a:ext cx="1997514" cy="4327947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キャラクター図鑑」を</a:t>
            </a:r>
            <a:endParaRPr lang="en-US" altLang="ja-JP" sz="18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ダブルタップ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0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A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キャラクターを変身させましょう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86206D7F-2DE8-A788-82F4-8A98B5B7E850}"/>
              </a:ext>
            </a:extLst>
          </p:cNvPr>
          <p:cNvSpPr/>
          <p:nvPr/>
        </p:nvSpPr>
        <p:spPr>
          <a:xfrm>
            <a:off x="5934899" y="3266016"/>
            <a:ext cx="1431109" cy="46778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74870D22-3BC7-EDB1-75DF-A7388FCFDD17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ホーム画面左上の三本線のマークをダブルタップします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930F574D-02A0-DF1C-50BB-B54B7A5BB7F9}"/>
              </a:ext>
            </a:extLst>
          </p:cNvPr>
          <p:cNvSpPr/>
          <p:nvPr/>
        </p:nvSpPr>
        <p:spPr>
          <a:xfrm>
            <a:off x="1427049" y="2560148"/>
            <a:ext cx="367619" cy="32596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7F34B1B4-DD8E-6CB3-B86B-DBACACE82F87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>
                <a:solidFill>
                  <a:srgbClr val="4472C4"/>
                </a:solidFill>
              </a:rPr>
              <a:t>キャラクターの変身</a:t>
            </a:r>
          </a:p>
        </p:txBody>
      </p:sp>
    </p:spTree>
    <p:extLst>
      <p:ext uri="{BB962C8B-B14F-4D97-AF65-F5344CB8AC3E}">
        <p14:creationId xmlns:p14="http://schemas.microsoft.com/office/powerpoint/2010/main" val="41129320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図 1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95BD0EF7-7392-F8F3-8602-77DA6E9CAA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8161" y="2406591"/>
            <a:ext cx="1997514" cy="432794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" name="図 29" descr="ダイアグラム&#10;&#10;低い精度で自動的に生成された説明">
            <a:extLst>
              <a:ext uri="{FF2B5EF4-FFF2-40B4-BE49-F238E27FC236}">
                <a16:creationId xmlns:a16="http://schemas.microsoft.com/office/drawing/2014/main" id="{3947F637-0BE5-BCC7-4A09-6E315CAC98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71906" y="2389604"/>
            <a:ext cx="1997514" cy="4327948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372164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現在のキャラクターをダブルタップ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赤枠内の好きな姿を</a:t>
            </a:r>
            <a:endParaRPr lang="en-US" altLang="ja-JP" sz="18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ダブルタップ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1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A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キャラクターを変身させましょう</a:t>
            </a: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5021A67F-97B5-8AF7-8EDF-0C3A4D577B65}"/>
              </a:ext>
            </a:extLst>
          </p:cNvPr>
          <p:cNvSpPr/>
          <p:nvPr/>
        </p:nvSpPr>
        <p:spPr>
          <a:xfrm>
            <a:off x="1458160" y="3266016"/>
            <a:ext cx="650039" cy="675160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2" name="四角形: 角を丸くする 31">
            <a:extLst>
              <a:ext uri="{FF2B5EF4-FFF2-40B4-BE49-F238E27FC236}">
                <a16:creationId xmlns:a16="http://schemas.microsoft.com/office/drawing/2014/main" id="{3EFCBA1F-9188-A6CF-03F7-6B39C4D2CCCE}"/>
              </a:ext>
            </a:extLst>
          </p:cNvPr>
          <p:cNvSpPr/>
          <p:nvPr/>
        </p:nvSpPr>
        <p:spPr>
          <a:xfrm>
            <a:off x="5687011" y="5440301"/>
            <a:ext cx="1955332" cy="104481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FAC68D0D-2431-31D0-ED13-5F0E0EAEDB14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>
                <a:solidFill>
                  <a:srgbClr val="4472C4"/>
                </a:solidFill>
              </a:rPr>
              <a:t>キャラクターの変身</a:t>
            </a:r>
          </a:p>
        </p:txBody>
      </p:sp>
    </p:spTree>
    <p:extLst>
      <p:ext uri="{BB962C8B-B14F-4D97-AF65-F5344CB8AC3E}">
        <p14:creationId xmlns:p14="http://schemas.microsoft.com/office/powerpoint/2010/main" val="31487736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図 23" descr="グラフィカル ユーザー インターフェイス&#10;&#10;自動的に生成された説明">
            <a:extLst>
              <a:ext uri="{FF2B5EF4-FFF2-40B4-BE49-F238E27FC236}">
                <a16:creationId xmlns:a16="http://schemas.microsoft.com/office/drawing/2014/main" id="{3E2E9C79-5FA0-F464-157E-FA61F681E0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5942" y="2398695"/>
            <a:ext cx="1991445" cy="431479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" name="図 22" descr="ダイアグラム&#10;&#10;自動的に生成された説明">
            <a:extLst>
              <a:ext uri="{FF2B5EF4-FFF2-40B4-BE49-F238E27FC236}">
                <a16:creationId xmlns:a16="http://schemas.microsoft.com/office/drawing/2014/main" id="{CC9776BC-4643-57DF-F592-28353660BF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61509" y="2398695"/>
            <a:ext cx="1997513" cy="4327943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372164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キャラクター図鑑」を</a:t>
            </a:r>
            <a:br>
              <a:rPr lang="en-US" altLang="ja-JP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ダブルタップ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2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キャラクターの変更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B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キャラクターを変更してみましょう</a:t>
            </a:r>
          </a:p>
        </p:txBody>
      </p:sp>
      <p:sp>
        <p:nvSpPr>
          <p:cNvPr id="32" name="四角形: 角を丸くする 31">
            <a:extLst>
              <a:ext uri="{FF2B5EF4-FFF2-40B4-BE49-F238E27FC236}">
                <a16:creationId xmlns:a16="http://schemas.microsoft.com/office/drawing/2014/main" id="{3EFCBA1F-9188-A6CF-03F7-6B39C4D2CCCE}"/>
              </a:ext>
            </a:extLst>
          </p:cNvPr>
          <p:cNvSpPr/>
          <p:nvPr/>
        </p:nvSpPr>
        <p:spPr>
          <a:xfrm>
            <a:off x="5994400" y="3259288"/>
            <a:ext cx="1308100" cy="48755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40C8412B-9067-EC20-25CF-97B1316970FE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ホーム画面左上の三本線のマークをダブルタップします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222716F6-E359-D298-71CC-F31886D1860A}"/>
              </a:ext>
            </a:extLst>
          </p:cNvPr>
          <p:cNvSpPr/>
          <p:nvPr/>
        </p:nvSpPr>
        <p:spPr>
          <a:xfrm>
            <a:off x="1427049" y="2560148"/>
            <a:ext cx="367619" cy="32596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831365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図 24" descr="ダイアグラム&#10;&#10;自動的に生成された説明">
            <a:extLst>
              <a:ext uri="{FF2B5EF4-FFF2-40B4-BE49-F238E27FC236}">
                <a16:creationId xmlns:a16="http://schemas.microsoft.com/office/drawing/2014/main" id="{F5FE26AE-E67E-24F2-2755-2B3B7DA8F9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2868" y="2394833"/>
            <a:ext cx="2000138" cy="433363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図 1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4D5EC29E-1A03-0734-CFE7-1E1B5934FE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9736" y="2394834"/>
            <a:ext cx="1997512" cy="4327942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372164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好きなキャラクターをダブルタップ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8" y="1512998"/>
            <a:ext cx="3536872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このキャラクターで歩き始める」をダブルタップ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B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キャラクターを変更してみましょう</a:t>
            </a: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5021A67F-97B5-8AF7-8EDF-0C3A4D577B65}"/>
              </a:ext>
            </a:extLst>
          </p:cNvPr>
          <p:cNvSpPr/>
          <p:nvPr/>
        </p:nvSpPr>
        <p:spPr>
          <a:xfrm>
            <a:off x="2138652" y="3248680"/>
            <a:ext cx="629947" cy="69249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2" name="四角形: 角を丸くする 31">
            <a:extLst>
              <a:ext uri="{FF2B5EF4-FFF2-40B4-BE49-F238E27FC236}">
                <a16:creationId xmlns:a16="http://schemas.microsoft.com/office/drawing/2014/main" id="{3EFCBA1F-9188-A6CF-03F7-6B39C4D2CCCE}"/>
              </a:ext>
            </a:extLst>
          </p:cNvPr>
          <p:cNvSpPr/>
          <p:nvPr/>
        </p:nvSpPr>
        <p:spPr>
          <a:xfrm>
            <a:off x="5840642" y="5320428"/>
            <a:ext cx="1652358" cy="426118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DA4951D-46C2-634A-5B23-BDCC059C24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キャラクターの変更</a:t>
            </a:r>
          </a:p>
        </p:txBody>
      </p:sp>
    </p:spTree>
    <p:extLst>
      <p:ext uri="{BB962C8B-B14F-4D97-AF65-F5344CB8AC3E}">
        <p14:creationId xmlns:p14="http://schemas.microsoft.com/office/powerpoint/2010/main" val="11686231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ダイアグラム&#10;&#10;中程度の精度で自動的に生成された説明">
            <a:extLst>
              <a:ext uri="{FF2B5EF4-FFF2-40B4-BE49-F238E27FC236}">
                <a16:creationId xmlns:a16="http://schemas.microsoft.com/office/drawing/2014/main" id="{B484651D-A05F-3DC6-976B-E41BC579A6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5664" y="2409447"/>
            <a:ext cx="1992672" cy="4317455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294041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ホーム画面に切り変われば</a:t>
            </a:r>
            <a:br>
              <a:rPr lang="en-US" altLang="ja-JP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</a:br>
            <a:r>
              <a:rPr lang="ja-JP" altLang="en-US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完了です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5CBCC18-DA56-9677-880A-6A56DAEDCDDA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4</a:t>
            </a:r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BDA923AA-E21D-639D-8449-27D6874C916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B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キャラクターを変更してみましょう</a:t>
            </a: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DBA77AC4-6C06-5A85-C06A-5D185542E5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キャラクターの変更</a:t>
            </a:r>
          </a:p>
        </p:txBody>
      </p:sp>
    </p:spTree>
    <p:extLst>
      <p:ext uri="{BB962C8B-B14F-4D97-AF65-F5344CB8AC3E}">
        <p14:creationId xmlns:p14="http://schemas.microsoft.com/office/powerpoint/2010/main" val="37392646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5</a:t>
            </a:r>
          </a:p>
        </p:txBody>
      </p:sp>
      <p:sp>
        <p:nvSpPr>
          <p:cNvPr id="36" name="タイトル 1">
            <a:extLst>
              <a:ext uri="{FF2B5EF4-FFF2-40B4-BE49-F238E27FC236}">
                <a16:creationId xmlns:a16="http://schemas.microsoft.com/office/drawing/2014/main" id="{D44D0BFC-F6D1-C7E0-0100-9123616C8B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自分に合った目標設定</a:t>
            </a:r>
          </a:p>
        </p:txBody>
      </p:sp>
      <p:sp>
        <p:nvSpPr>
          <p:cNvPr id="37" name="タイトル 1">
            <a:extLst>
              <a:ext uri="{FF2B5EF4-FFF2-40B4-BE49-F238E27FC236}">
                <a16:creationId xmlns:a16="http://schemas.microsoft.com/office/drawing/2014/main" id="{E71F6F3E-7B88-CFF5-389D-5129FDA722D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C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5902CA02-2765-48A8-38EE-3FD036EF4F8A}"/>
              </a:ext>
            </a:extLst>
          </p:cNvPr>
          <p:cNvSpPr txBox="1"/>
          <p:nvPr/>
        </p:nvSpPr>
        <p:spPr>
          <a:xfrm>
            <a:off x="410367" y="1936026"/>
            <a:ext cx="8323265" cy="38577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＋</a:t>
            </a: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ALK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では、健康のために</a:t>
            </a: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日</a:t>
            </a:r>
            <a:r>
              <a:rPr lang="en-US" altLang="ja-JP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,000</a:t>
            </a: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歩以上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目標歩数を推奨しています</a:t>
            </a:r>
            <a:endParaRPr lang="en-US" altLang="ja-JP" sz="24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endParaRPr lang="en-US" altLang="ja-JP" sz="24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また、目安として</a:t>
            </a:r>
            <a:r>
              <a:rPr lang="en-US" altLang="ja-JP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0</a:t>
            </a: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分の歩行で約</a:t>
            </a:r>
            <a:r>
              <a:rPr lang="en-US" altLang="ja-JP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,000</a:t>
            </a: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歩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、家事などの生活活動は</a:t>
            </a: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約</a:t>
            </a:r>
            <a:r>
              <a:rPr lang="en-US" altLang="ja-JP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,000</a:t>
            </a: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歩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に相当しますので、それを考慮し目標設定をすると良いでしょう</a:t>
            </a:r>
            <a:endParaRPr lang="en-US" altLang="ja-JP" sz="24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,000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歩が難しいという場合は、まずは</a:t>
            </a: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,000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歩～設定してみましょう</a:t>
            </a:r>
            <a:endParaRPr lang="en-US" altLang="ja-JP" sz="24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BBE27BD4-62A5-77E0-D53F-9E8267B35664}"/>
              </a:ext>
            </a:extLst>
          </p:cNvPr>
          <p:cNvSpPr txBox="1">
            <a:spLocks/>
          </p:cNvSpPr>
          <p:nvPr/>
        </p:nvSpPr>
        <p:spPr>
          <a:xfrm>
            <a:off x="284326" y="1052688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自分に合った目標設定をし、歩く習慣を身につけましょう</a:t>
            </a:r>
          </a:p>
        </p:txBody>
      </p:sp>
    </p:spTree>
    <p:extLst>
      <p:ext uri="{BB962C8B-B14F-4D97-AF65-F5344CB8AC3E}">
        <p14:creationId xmlns:p14="http://schemas.microsoft.com/office/powerpoint/2010/main" val="2583532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 descr="グラフィカル ユーザー インターフェイス&#10;&#10;自動的に生成された説明">
            <a:extLst>
              <a:ext uri="{FF2B5EF4-FFF2-40B4-BE49-F238E27FC236}">
                <a16:creationId xmlns:a16="http://schemas.microsoft.com/office/drawing/2014/main" id="{F363EFB1-247B-D99C-91CE-689A3C27FC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2142" y="2268718"/>
            <a:ext cx="2449025" cy="4356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図 3" descr="ダイアグラム&#10;&#10;自動的に生成された説明">
            <a:extLst>
              <a:ext uri="{FF2B5EF4-FFF2-40B4-BE49-F238E27FC236}">
                <a16:creationId xmlns:a16="http://schemas.microsoft.com/office/drawing/2014/main" id="{E7436D13-2ADE-95A7-D305-0D8CEC4A2B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0404" y="2268718"/>
            <a:ext cx="2449025" cy="43560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ホーム画面左上の三本線のマークをダブルタップ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586811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基本情報登録」を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ダブルタップ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</a:t>
            </a:r>
          </a:p>
        </p:txBody>
      </p:sp>
      <p:sp>
        <p:nvSpPr>
          <p:cNvPr id="35" name="サブタイトル 2">
            <a:extLst>
              <a:ext uri="{FF2B5EF4-FFF2-40B4-BE49-F238E27FC236}">
                <a16:creationId xmlns:a16="http://schemas.microsoft.com/office/drawing/2014/main" id="{B34AFA31-A920-300C-D979-310D1E3C507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日の目標歩数を変更しましょう</a:t>
            </a:r>
          </a:p>
        </p:txBody>
      </p:sp>
      <p:sp>
        <p:nvSpPr>
          <p:cNvPr id="36" name="タイトル 1">
            <a:extLst>
              <a:ext uri="{FF2B5EF4-FFF2-40B4-BE49-F238E27FC236}">
                <a16:creationId xmlns:a16="http://schemas.microsoft.com/office/drawing/2014/main" id="{D44D0BFC-F6D1-C7E0-0100-9123616C8B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自分に合った目標設定</a:t>
            </a:r>
          </a:p>
        </p:txBody>
      </p:sp>
      <p:sp>
        <p:nvSpPr>
          <p:cNvPr id="37" name="タイトル 1">
            <a:extLst>
              <a:ext uri="{FF2B5EF4-FFF2-40B4-BE49-F238E27FC236}">
                <a16:creationId xmlns:a16="http://schemas.microsoft.com/office/drawing/2014/main" id="{E71F6F3E-7B88-CFF5-389D-5129FDA722D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C</a:t>
            </a: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6BEEC47B-2055-7360-A8C5-B839E9033857}"/>
              </a:ext>
            </a:extLst>
          </p:cNvPr>
          <p:cNvSpPr/>
          <p:nvPr/>
        </p:nvSpPr>
        <p:spPr>
          <a:xfrm>
            <a:off x="1168813" y="2384303"/>
            <a:ext cx="367619" cy="32596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9123627F-EF15-FBDC-C8B3-99D2A4B7AE86}"/>
              </a:ext>
            </a:extLst>
          </p:cNvPr>
          <p:cNvSpPr/>
          <p:nvPr/>
        </p:nvSpPr>
        <p:spPr>
          <a:xfrm>
            <a:off x="5954010" y="3043182"/>
            <a:ext cx="1529633" cy="470346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487714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図 31">
            <a:extLst>
              <a:ext uri="{FF2B5EF4-FFF2-40B4-BE49-F238E27FC236}">
                <a16:creationId xmlns:a16="http://schemas.microsoft.com/office/drawing/2014/main" id="{37FEB8E8-3E4A-8CF7-01F6-280F3475A1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0109" y="2257200"/>
            <a:ext cx="2475191" cy="4377307"/>
          </a:xfrm>
          <a:prstGeom prst="rect">
            <a:avLst/>
          </a:prstGeom>
        </p:spPr>
      </p:pic>
      <p:pic>
        <p:nvPicPr>
          <p:cNvPr id="28" name="図 27">
            <a:extLst>
              <a:ext uri="{FF2B5EF4-FFF2-40B4-BE49-F238E27FC236}">
                <a16:creationId xmlns:a16="http://schemas.microsoft.com/office/drawing/2014/main" id="{F001C424-0CC9-3869-7BED-D517F34228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8476" y="2257200"/>
            <a:ext cx="2475191" cy="4383404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下から上にスクロールします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36227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日の目標歩数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ダブルタップし、数値を入力し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</a:t>
            </a:r>
          </a:p>
        </p:txBody>
      </p:sp>
      <p:sp>
        <p:nvSpPr>
          <p:cNvPr id="35" name="サブタイトル 2">
            <a:extLst>
              <a:ext uri="{FF2B5EF4-FFF2-40B4-BE49-F238E27FC236}">
                <a16:creationId xmlns:a16="http://schemas.microsoft.com/office/drawing/2014/main" id="{B34AFA31-A920-300C-D979-310D1E3C507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日の目標歩数を変更しましょう</a:t>
            </a:r>
          </a:p>
        </p:txBody>
      </p:sp>
      <p:sp>
        <p:nvSpPr>
          <p:cNvPr id="36" name="タイトル 1">
            <a:extLst>
              <a:ext uri="{FF2B5EF4-FFF2-40B4-BE49-F238E27FC236}">
                <a16:creationId xmlns:a16="http://schemas.microsoft.com/office/drawing/2014/main" id="{D44D0BFC-F6D1-C7E0-0100-9123616C8B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自分に合った目標設定</a:t>
            </a:r>
          </a:p>
        </p:txBody>
      </p:sp>
      <p:sp>
        <p:nvSpPr>
          <p:cNvPr id="37" name="タイトル 1">
            <a:extLst>
              <a:ext uri="{FF2B5EF4-FFF2-40B4-BE49-F238E27FC236}">
                <a16:creationId xmlns:a16="http://schemas.microsoft.com/office/drawing/2014/main" id="{E71F6F3E-7B88-CFF5-389D-5129FDA722D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C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9123627F-EF15-FBDC-C8B3-99D2A4B7AE86}"/>
              </a:ext>
            </a:extLst>
          </p:cNvPr>
          <p:cNvSpPr/>
          <p:nvPr/>
        </p:nvSpPr>
        <p:spPr>
          <a:xfrm>
            <a:off x="5633178" y="4956359"/>
            <a:ext cx="2163285" cy="33986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矢印: 下 11">
            <a:extLst>
              <a:ext uri="{FF2B5EF4-FFF2-40B4-BE49-F238E27FC236}">
                <a16:creationId xmlns:a16="http://schemas.microsoft.com/office/drawing/2014/main" id="{23B654A9-C3AC-36D8-A879-4228BFC61FDD}"/>
              </a:ext>
            </a:extLst>
          </p:cNvPr>
          <p:cNvSpPr/>
          <p:nvPr/>
        </p:nvSpPr>
        <p:spPr>
          <a:xfrm rot="10800000">
            <a:off x="2121242" y="3919668"/>
            <a:ext cx="549662" cy="2122809"/>
          </a:xfrm>
          <a:prstGeom prst="downArrow">
            <a:avLst/>
          </a:prstGeom>
          <a:solidFill>
            <a:srgbClr val="FFFFFF">
              <a:alpha val="69804"/>
            </a:srgbClr>
          </a:solidFill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117063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D6DAEEED-4136-E4D9-C528-FE04AD3BEA68}"/>
              </a:ext>
            </a:extLst>
          </p:cNvPr>
          <p:cNvSpPr txBox="1">
            <a:spLocks/>
          </p:cNvSpPr>
          <p:nvPr/>
        </p:nvSpPr>
        <p:spPr>
          <a:xfrm>
            <a:off x="1843314" y="2313608"/>
            <a:ext cx="6534181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>
              <a:lnSpc>
                <a:spcPct val="120000"/>
              </a:lnSpc>
              <a:spcBef>
                <a:spcPts val="0"/>
              </a:spcBef>
            </a:pP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 PROJECT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</a:t>
            </a:r>
            <a:endParaRPr lang="en-US" altLang="ja-JP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defTabSz="914305">
              <a:lnSpc>
                <a:spcPct val="120000"/>
              </a:lnSpc>
              <a:spcBef>
                <a:spcPts val="0"/>
              </a:spcBef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知りましょう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1D2398E-0F29-8B3C-29FC-5D63BFB6C773}"/>
              </a:ext>
            </a:extLst>
          </p:cNvPr>
          <p:cNvSpPr txBox="1"/>
          <p:nvPr/>
        </p:nvSpPr>
        <p:spPr>
          <a:xfrm>
            <a:off x="529389" y="1838448"/>
            <a:ext cx="155207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88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endParaRPr kumimoji="1" lang="ja-JP" altLang="en-US" sz="8800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48001A7-59D2-3226-F629-1F0588A52F4F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87440660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>
            <a:extLst>
              <a:ext uri="{FF2B5EF4-FFF2-40B4-BE49-F238E27FC236}">
                <a16:creationId xmlns:a16="http://schemas.microsoft.com/office/drawing/2014/main" id="{7D99709A-8FB9-0663-6832-5898BC2213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6436" y="2269197"/>
            <a:ext cx="2475191" cy="437730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8</a:t>
            </a:r>
          </a:p>
        </p:txBody>
      </p:sp>
      <p:sp>
        <p:nvSpPr>
          <p:cNvPr id="35" name="サブタイトル 2">
            <a:extLst>
              <a:ext uri="{FF2B5EF4-FFF2-40B4-BE49-F238E27FC236}">
                <a16:creationId xmlns:a16="http://schemas.microsoft.com/office/drawing/2014/main" id="{B34AFA31-A920-300C-D979-310D1E3C507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日の目標歩数を変更しましょう</a:t>
            </a:r>
          </a:p>
        </p:txBody>
      </p:sp>
      <p:sp>
        <p:nvSpPr>
          <p:cNvPr id="36" name="タイトル 1">
            <a:extLst>
              <a:ext uri="{FF2B5EF4-FFF2-40B4-BE49-F238E27FC236}">
                <a16:creationId xmlns:a16="http://schemas.microsoft.com/office/drawing/2014/main" id="{D44D0BFC-F6D1-C7E0-0100-9123616C8B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自分に合った目標設定</a:t>
            </a:r>
          </a:p>
        </p:txBody>
      </p:sp>
      <p:sp>
        <p:nvSpPr>
          <p:cNvPr id="37" name="タイトル 1">
            <a:extLst>
              <a:ext uri="{FF2B5EF4-FFF2-40B4-BE49-F238E27FC236}">
                <a16:creationId xmlns:a16="http://schemas.microsoft.com/office/drawing/2014/main" id="{E71F6F3E-7B88-CFF5-389D-5129FDA722D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C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271B53E-69B1-3E13-25AC-524DF26A70E4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1AAD2436-2B88-9357-959E-230C1E253C6A}"/>
              </a:ext>
            </a:extLst>
          </p:cNvPr>
          <p:cNvSpPr txBox="1"/>
          <p:nvPr/>
        </p:nvSpPr>
        <p:spPr>
          <a:xfrm>
            <a:off x="3485787" y="1512998"/>
            <a:ext cx="294041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設定する」をダブルタップします</a:t>
            </a:r>
            <a:endParaRPr lang="ja-JP" altLang="en-US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CD2490B-A161-7222-CA8D-0FF4CABB1429}"/>
              </a:ext>
            </a:extLst>
          </p:cNvPr>
          <p:cNvSpPr/>
          <p:nvPr/>
        </p:nvSpPr>
        <p:spPr>
          <a:xfrm>
            <a:off x="3502389" y="6063918"/>
            <a:ext cx="2163285" cy="469330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748928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1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5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 dirty="0">
                <a:solidFill>
                  <a:srgbClr val="4472C4"/>
                </a:solidFill>
              </a:rPr>
              <a:t>FUN+WALK PROJECT</a:t>
            </a:r>
            <a:r>
              <a:rPr lang="ja-JP" altLang="en-US" sz="2799" dirty="0">
                <a:solidFill>
                  <a:srgbClr val="4472C4"/>
                </a:solidFill>
              </a:rPr>
              <a:t>と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2468A7-68C3-F695-4B25-1F00DD556FC3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196C393E-5AAF-AE4E-5616-5DCB8BE26C86}"/>
              </a:ext>
            </a:extLst>
          </p:cNvPr>
          <p:cNvSpPr txBox="1"/>
          <p:nvPr/>
        </p:nvSpPr>
        <p:spPr>
          <a:xfrm>
            <a:off x="667720" y="1280348"/>
            <a:ext cx="7808560" cy="1323439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altLang="ja-JP" sz="2000" i="0" dirty="0">
                <a:solidFill>
                  <a:schemeClr val="tx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 PROJECT</a:t>
            </a:r>
            <a:r>
              <a:rPr lang="ja-JP" altLang="en-US" sz="2000" i="0" dirty="0">
                <a:solidFill>
                  <a:schemeClr val="tx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は、</a:t>
            </a:r>
            <a:br>
              <a:rPr lang="ja-JP" altLang="en-US" sz="20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sz="2000" i="0" dirty="0">
                <a:solidFill>
                  <a:schemeClr val="tx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歩くことをもっと楽しく、楽しいことをもっと健康的なものにする</a:t>
            </a:r>
            <a:endParaRPr lang="en-US" altLang="ja-JP" sz="2000" i="0" dirty="0">
              <a:solidFill>
                <a:schemeClr val="tx1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/>
            <a:r>
              <a:rPr lang="ja-JP" altLang="en-US" sz="2000" i="0" dirty="0">
                <a:solidFill>
                  <a:schemeClr val="tx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国民の健康増進を目指すプロジェクトです。</a:t>
            </a:r>
            <a:endParaRPr lang="en-US" altLang="ja-JP" sz="2000" i="0" dirty="0">
              <a:solidFill>
                <a:schemeClr val="tx1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/>
            <a:r>
              <a:rPr lang="ja-JP" altLang="en-US" sz="2000" i="0" dirty="0">
                <a:solidFill>
                  <a:schemeClr val="tx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歩く」を入口に、国民の健康増進を目指しています。</a:t>
            </a:r>
            <a:endParaRPr lang="ja-JP" altLang="en-US" sz="2000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27ED2F58-F162-5A35-C566-A71E698FEBF5}"/>
              </a:ext>
            </a:extLst>
          </p:cNvPr>
          <p:cNvGrpSpPr/>
          <p:nvPr/>
        </p:nvGrpSpPr>
        <p:grpSpPr>
          <a:xfrm>
            <a:off x="630147" y="3725150"/>
            <a:ext cx="4061873" cy="2520129"/>
            <a:chOff x="510127" y="2819448"/>
            <a:chExt cx="4061873" cy="2520129"/>
          </a:xfrm>
        </p:grpSpPr>
        <p:sp>
          <p:nvSpPr>
            <p:cNvPr id="13" name="四角形: 角を丸くする 12">
              <a:extLst>
                <a:ext uri="{FF2B5EF4-FFF2-40B4-BE49-F238E27FC236}">
                  <a16:creationId xmlns:a16="http://schemas.microsoft.com/office/drawing/2014/main" id="{80BB4BF7-C386-6362-8D91-EFE343FED385}"/>
                </a:ext>
              </a:extLst>
            </p:cNvPr>
            <p:cNvSpPr/>
            <p:nvPr/>
          </p:nvSpPr>
          <p:spPr>
            <a:xfrm>
              <a:off x="510127" y="2819448"/>
              <a:ext cx="3627616" cy="2520129"/>
            </a:xfrm>
            <a:prstGeom prst="round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20718E8D-4C0E-2635-4D21-79DC8AE1639D}"/>
                </a:ext>
              </a:extLst>
            </p:cNvPr>
            <p:cNvSpPr txBox="1"/>
            <p:nvPr/>
          </p:nvSpPr>
          <p:spPr>
            <a:xfrm>
              <a:off x="919971" y="3265319"/>
              <a:ext cx="2448272" cy="19389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グルメ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仕事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音楽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デート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美容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写真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4967E69B-0895-EAF1-9E6B-C172B3815403}"/>
                </a:ext>
              </a:extLst>
            </p:cNvPr>
            <p:cNvSpPr txBox="1"/>
            <p:nvPr/>
          </p:nvSpPr>
          <p:spPr>
            <a:xfrm>
              <a:off x="2123728" y="3262086"/>
              <a:ext cx="2448272" cy="19389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ショッピング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ファッション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旅行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アート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イベント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自然</a:t>
              </a:r>
            </a:p>
          </p:txBody>
        </p:sp>
      </p:grp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F9D22573-60D4-0434-4701-555A3665A13D}"/>
              </a:ext>
            </a:extLst>
          </p:cNvPr>
          <p:cNvSpPr txBox="1"/>
          <p:nvPr/>
        </p:nvSpPr>
        <p:spPr>
          <a:xfrm>
            <a:off x="4257763" y="4522117"/>
            <a:ext cx="4496130" cy="92333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ja-JP" altLang="en-US" sz="5400" b="1" dirty="0">
                <a:solidFill>
                  <a:srgbClr val="66B6A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 </a:t>
            </a:r>
            <a:r>
              <a:rPr lang="en-US" altLang="ja-JP" sz="5400" b="1" dirty="0">
                <a:solidFill>
                  <a:srgbClr val="66B6A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EC280932-C0CF-EBF9-C4F5-C2C03D26AB77}"/>
              </a:ext>
            </a:extLst>
          </p:cNvPr>
          <p:cNvSpPr txBox="1"/>
          <p:nvPr/>
        </p:nvSpPr>
        <p:spPr>
          <a:xfrm>
            <a:off x="1853899" y="3715085"/>
            <a:ext cx="101822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</a:t>
            </a:r>
            <a:endParaRPr kumimoji="1" lang="ja-JP" altLang="en-US" sz="2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680A46B5-8519-AE7F-BE07-8DB8276E1176}"/>
              </a:ext>
            </a:extLst>
          </p:cNvPr>
          <p:cNvSpPr txBox="1"/>
          <p:nvPr/>
        </p:nvSpPr>
        <p:spPr>
          <a:xfrm>
            <a:off x="445563" y="2813030"/>
            <a:ext cx="8252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歩く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(WALK)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」に「楽しい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(FUN)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」を組み合わせ、自然と歩く習慣を身につけます</a:t>
            </a:r>
            <a:endParaRPr kumimoji="1"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163205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1-B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5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 dirty="0">
                <a:solidFill>
                  <a:srgbClr val="4472C4"/>
                </a:solidFill>
              </a:rPr>
              <a:t>FUN+WALK</a:t>
            </a:r>
            <a:r>
              <a:rPr lang="ja-JP" altLang="en-US" sz="2799" dirty="0">
                <a:solidFill>
                  <a:srgbClr val="4472C4"/>
                </a:solidFill>
              </a:rPr>
              <a:t>アプリと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2468A7-68C3-F695-4B25-1F00DD556FC3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F0EA863-3A55-F29D-3014-2B9E9186F2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541997"/>
            <a:ext cx="2118365" cy="4479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58754F82-C840-AA01-254B-C01E2588C65C}"/>
              </a:ext>
            </a:extLst>
          </p:cNvPr>
          <p:cNvSpPr txBox="1"/>
          <p:nvPr/>
        </p:nvSpPr>
        <p:spPr>
          <a:xfrm>
            <a:off x="3510136" y="1384876"/>
            <a:ext cx="5166317" cy="12295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>
              <a:lnSpc>
                <a:spcPct val="130000"/>
              </a:lnSpc>
            </a:pPr>
            <a:r>
              <a:rPr lang="ja-JP" altLang="en-US" sz="2000" i="0" dirty="0">
                <a:solidFill>
                  <a:schemeClr val="accent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好きなご当地キャラを変身させたり、おトクなクーポンを</a:t>
            </a:r>
            <a:r>
              <a:rPr lang="en-US" altLang="ja-JP" sz="2000" i="0" dirty="0">
                <a:solidFill>
                  <a:schemeClr val="accent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ET</a:t>
            </a:r>
            <a:r>
              <a:rPr lang="ja-JP" altLang="en-US" sz="2000" i="0" dirty="0">
                <a:solidFill>
                  <a:schemeClr val="accent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したり</a:t>
            </a:r>
            <a:endParaRPr lang="en-US" altLang="ja-JP" sz="2000" i="0" dirty="0">
              <a:solidFill>
                <a:schemeClr val="accent1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l" fontAlgn="base">
              <a:lnSpc>
                <a:spcPct val="130000"/>
              </a:lnSpc>
            </a:pPr>
            <a:r>
              <a:rPr lang="ja-JP" altLang="en-US" sz="2000" i="0" dirty="0">
                <a:solidFill>
                  <a:schemeClr val="accent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歩く」がもっと楽しくなるアプリです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A85FAB1-F2AC-5EAD-1035-01E1053EA219}"/>
              </a:ext>
            </a:extLst>
          </p:cNvPr>
          <p:cNvSpPr txBox="1"/>
          <p:nvPr/>
        </p:nvSpPr>
        <p:spPr>
          <a:xfrm>
            <a:off x="3510136" y="2858490"/>
            <a:ext cx="5166316" cy="36365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</a:t>
            </a: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＋</a:t>
            </a:r>
            <a:r>
              <a:rPr lang="en-US" altLang="ja-JP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ALK</a:t>
            </a: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は、歩くことをもっと楽しく、楽しいことをもっと健康的なものに変えていくスポーツ庁の</a:t>
            </a:r>
            <a:r>
              <a:rPr lang="en-US" altLang="ja-JP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『FUN</a:t>
            </a: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＋</a:t>
            </a:r>
            <a:r>
              <a:rPr lang="en-US" altLang="ja-JP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ALK PROJECT』</a:t>
            </a: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サポートするアプリ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で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日の歩数にあわせて、ご当地キャラがどんどん変身したり、</a:t>
            </a:r>
            <a:r>
              <a:rPr lang="en-US" altLang="ja-JP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00</a:t>
            </a: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歩ごとにたまるポイントを、</a:t>
            </a:r>
            <a:endParaRPr lang="en-US" altLang="ja-JP" b="0" i="0" dirty="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様々な割引クーポンと交換したりすることが可能な、もっと歩きたくなる仕掛けが、たくさん詰まったアプリで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560976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D6DAEEED-4136-E4D9-C528-FE04AD3BEA68}"/>
              </a:ext>
            </a:extLst>
          </p:cNvPr>
          <p:cNvSpPr txBox="1">
            <a:spLocks/>
          </p:cNvSpPr>
          <p:nvPr/>
        </p:nvSpPr>
        <p:spPr>
          <a:xfrm>
            <a:off x="1843314" y="2313608"/>
            <a:ext cx="6534181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>
              <a:lnSpc>
                <a:spcPct val="120000"/>
              </a:lnSpc>
            </a:pP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</a:t>
            </a:r>
          </a:p>
          <a:p>
            <a:pPr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準備をしましょう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1D2398E-0F29-8B3C-29FC-5D63BFB6C773}"/>
              </a:ext>
            </a:extLst>
          </p:cNvPr>
          <p:cNvSpPr txBox="1"/>
          <p:nvPr/>
        </p:nvSpPr>
        <p:spPr>
          <a:xfrm>
            <a:off x="529389" y="1838448"/>
            <a:ext cx="155207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88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48001A7-59D2-3226-F629-1F0588A52F4F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8580301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>
            <a:extLst>
              <a:ext uri="{FF2B5EF4-FFF2-40B4-BE49-F238E27FC236}">
                <a16:creationId xmlns:a16="http://schemas.microsoft.com/office/drawing/2014/main" id="{A08292AD-6880-9E6C-74B1-049AD452F2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0746" y="2253634"/>
            <a:ext cx="2475191" cy="4377307"/>
          </a:xfrm>
          <a:prstGeom prst="rect">
            <a:avLst/>
          </a:prstGeom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C129D300-E542-E1E5-D702-2197653988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8422" y="2253634"/>
            <a:ext cx="2449026" cy="4356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直線コネクタ 16">
            <a:extLst>
              <a:ext uri="{FF2B5EF4-FFF2-40B4-BE49-F238E27FC236}">
                <a16:creationId xmlns:a16="http://schemas.microsoft.com/office/drawing/2014/main" id="{B6AF429B-7677-BAA5-B194-E7DE995AF4F1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742D61A0-62BF-1DCE-6E3B-621C1F52094D}"/>
              </a:ext>
            </a:extLst>
          </p:cNvPr>
          <p:cNvSpPr/>
          <p:nvPr/>
        </p:nvSpPr>
        <p:spPr>
          <a:xfrm>
            <a:off x="2427855" y="4709702"/>
            <a:ext cx="504000" cy="47362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677FFD77-C3F4-2219-74F2-CEABF38500F4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91F39756-4A47-2498-421E-5258B44D86FF}"/>
              </a:ext>
            </a:extLst>
          </p:cNvPr>
          <p:cNvSpPr txBox="1"/>
          <p:nvPr/>
        </p:nvSpPr>
        <p:spPr>
          <a:xfrm>
            <a:off x="1412435" y="1489248"/>
            <a:ext cx="348456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pp Store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　 　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ダブルタップします</a:t>
            </a: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A3F6F25E-4368-92F9-F53A-46FA4687EC1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41749" y="1498578"/>
            <a:ext cx="464796" cy="442043"/>
          </a:xfrm>
          <a:custGeom>
            <a:avLst/>
            <a:gdLst>
              <a:gd name="connsiteX0" fmla="*/ 173410 w 717550"/>
              <a:gd name="connsiteY0" fmla="*/ 0 h 717550"/>
              <a:gd name="connsiteX1" fmla="*/ 544140 w 717550"/>
              <a:gd name="connsiteY1" fmla="*/ 0 h 717550"/>
              <a:gd name="connsiteX2" fmla="*/ 717550 w 717550"/>
              <a:gd name="connsiteY2" fmla="*/ 173410 h 717550"/>
              <a:gd name="connsiteX3" fmla="*/ 717550 w 717550"/>
              <a:gd name="connsiteY3" fmla="*/ 544140 h 717550"/>
              <a:gd name="connsiteX4" fmla="*/ 544140 w 717550"/>
              <a:gd name="connsiteY4" fmla="*/ 717550 h 717550"/>
              <a:gd name="connsiteX5" fmla="*/ 173410 w 717550"/>
              <a:gd name="connsiteY5" fmla="*/ 717550 h 717550"/>
              <a:gd name="connsiteX6" fmla="*/ 0 w 717550"/>
              <a:gd name="connsiteY6" fmla="*/ 544140 h 717550"/>
              <a:gd name="connsiteX7" fmla="*/ 0 w 717550"/>
              <a:gd name="connsiteY7" fmla="*/ 173410 h 717550"/>
              <a:gd name="connsiteX8" fmla="*/ 173410 w 717550"/>
              <a:gd name="connsiteY8" fmla="*/ 0 h 717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7550" h="717550">
                <a:moveTo>
                  <a:pt x="173410" y="0"/>
                </a:moveTo>
                <a:lnTo>
                  <a:pt x="544140" y="0"/>
                </a:lnTo>
                <a:cubicBezTo>
                  <a:pt x="639912" y="0"/>
                  <a:pt x="717550" y="77638"/>
                  <a:pt x="717550" y="173410"/>
                </a:cubicBezTo>
                <a:lnTo>
                  <a:pt x="717550" y="544140"/>
                </a:lnTo>
                <a:cubicBezTo>
                  <a:pt x="717550" y="639912"/>
                  <a:pt x="639912" y="717550"/>
                  <a:pt x="544140" y="717550"/>
                </a:cubicBezTo>
                <a:lnTo>
                  <a:pt x="173410" y="717550"/>
                </a:lnTo>
                <a:cubicBezTo>
                  <a:pt x="77638" y="717550"/>
                  <a:pt x="0" y="639912"/>
                  <a:pt x="0" y="544140"/>
                </a:cubicBezTo>
                <a:lnTo>
                  <a:pt x="0" y="173410"/>
                </a:lnTo>
                <a:cubicBezTo>
                  <a:pt x="0" y="77638"/>
                  <a:pt x="77638" y="0"/>
                  <a:pt x="173410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A4C4995C-D652-E6A2-5153-C15BD6C81814}"/>
              </a:ext>
            </a:extLst>
          </p:cNvPr>
          <p:cNvSpPr/>
          <p:nvPr/>
        </p:nvSpPr>
        <p:spPr>
          <a:xfrm>
            <a:off x="7447283" y="6228213"/>
            <a:ext cx="475192" cy="47362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16E869D-F794-9BAF-9CB8-E906C5B40C02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5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F30958C-A88C-3B36-43DE-10ABFEBEBF9E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5257D894-889F-DABE-78E5-B401AA81E4F2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D9B24625-7187-8B17-2843-D83FF11487B3}"/>
              </a:ext>
            </a:extLst>
          </p:cNvPr>
          <p:cNvSpPr txBox="1"/>
          <p:nvPr/>
        </p:nvSpPr>
        <p:spPr>
          <a:xfrm>
            <a:off x="5607129" y="148924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ダブルタップします</a:t>
            </a:r>
          </a:p>
        </p:txBody>
      </p:sp>
      <p:sp>
        <p:nvSpPr>
          <p:cNvPr id="13" name="サブタイトル 2">
            <a:extLst>
              <a:ext uri="{FF2B5EF4-FFF2-40B4-BE49-F238E27FC236}">
                <a16:creationId xmlns:a16="http://schemas.microsoft.com/office/drawing/2014/main" id="{E266967F-F18C-F80B-B757-8C4992201C1D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をインストールしましょう</a:t>
            </a:r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F948A663-2E37-88A9-A0B2-59622EB8C0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6603090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FUN+WALK</a:t>
            </a:r>
            <a:r>
              <a:rPr lang="ja-JP" altLang="en-US" sz="2799" dirty="0">
                <a:solidFill>
                  <a:srgbClr val="4472C4"/>
                </a:solidFill>
              </a:rPr>
              <a:t>アプリのインストール方法</a:t>
            </a:r>
            <a:endParaRPr lang="ja-JP" altLang="en-US" dirty="0">
              <a:solidFill>
                <a:srgbClr val="4472C4"/>
              </a:solidFill>
            </a:endParaRPr>
          </a:p>
        </p:txBody>
      </p:sp>
      <p:sp>
        <p:nvSpPr>
          <p:cNvPr id="16" name="タイトル 1">
            <a:extLst>
              <a:ext uri="{FF2B5EF4-FFF2-40B4-BE49-F238E27FC236}">
                <a16:creationId xmlns:a16="http://schemas.microsoft.com/office/drawing/2014/main" id="{F4C1C033-BF80-E351-A9C3-C160C70CDDD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A</a:t>
            </a:r>
          </a:p>
        </p:txBody>
      </p:sp>
    </p:spTree>
    <p:extLst>
      <p:ext uri="{BB962C8B-B14F-4D97-AF65-F5344CB8AC3E}">
        <p14:creationId xmlns:p14="http://schemas.microsoft.com/office/powerpoint/2010/main" val="291342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図 19" descr="グラフィカル ユーザー インターフェイス, アプリケーション, テーブル, Teams&#10;&#10;自動的に生成された説明">
            <a:extLst>
              <a:ext uri="{FF2B5EF4-FFF2-40B4-BE49-F238E27FC236}">
                <a16:creationId xmlns:a16="http://schemas.microsoft.com/office/drawing/2014/main" id="{18D9C60F-9100-8A2E-AF37-FF22CD64CB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3430" y="2265873"/>
            <a:ext cx="2449026" cy="4356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図 5">
            <a:extLst>
              <a:ext uri="{FF2B5EF4-FFF2-40B4-BE49-F238E27FC236}">
                <a16:creationId xmlns:a16="http://schemas.microsoft.com/office/drawing/2014/main" id="{9002F99E-C8DE-4067-ADAB-F295072733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2950" y="2265873"/>
            <a:ext cx="2475191" cy="4377307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8F1C8EE1-2CB7-ADA0-3BB6-D0A5BABD257D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矢印コネクタ 7">
            <a:extLst>
              <a:ext uri="{FF2B5EF4-FFF2-40B4-BE49-F238E27FC236}">
                <a16:creationId xmlns:a16="http://schemas.microsoft.com/office/drawing/2014/main" id="{D6E7F9A8-832B-79FA-C0BA-7346B6B9F755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896C2A67-7599-9153-1872-C263263C8BB6}"/>
              </a:ext>
            </a:extLst>
          </p:cNvPr>
          <p:cNvSpPr txBox="1"/>
          <p:nvPr/>
        </p:nvSpPr>
        <p:spPr>
          <a:xfrm>
            <a:off x="1412435" y="1489248"/>
            <a:ext cx="348456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枠に「</a:t>
            </a:r>
            <a:r>
              <a:rPr lang="en-US" altLang="ja-JP" sz="1800" kern="100" dirty="0" err="1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fun+walk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」と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入力します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70174355-42BC-4E52-1B8D-D2BA7D5E47B7}"/>
              </a:ext>
            </a:extLst>
          </p:cNvPr>
          <p:cNvSpPr/>
          <p:nvPr/>
        </p:nvSpPr>
        <p:spPr>
          <a:xfrm>
            <a:off x="1286046" y="2372752"/>
            <a:ext cx="1629523" cy="397836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6" name="四角形: 角を丸くする 25">
            <a:extLst>
              <a:ext uri="{FF2B5EF4-FFF2-40B4-BE49-F238E27FC236}">
                <a16:creationId xmlns:a16="http://schemas.microsoft.com/office/drawing/2014/main" id="{72DFE4C5-6352-DCC9-7BD9-83ACF3955466}"/>
              </a:ext>
            </a:extLst>
          </p:cNvPr>
          <p:cNvSpPr/>
          <p:nvPr/>
        </p:nvSpPr>
        <p:spPr>
          <a:xfrm>
            <a:off x="7395484" y="5907953"/>
            <a:ext cx="584774" cy="75572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4601175-3FF8-9CAB-AB4A-C982980FE02C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FC660333-70DF-D74D-0998-858D98BC9EC8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C2D866B-9EB4-03B0-5348-7035A1D88F53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AEDBA18-A3A3-740F-9828-C8908BD506B8}"/>
              </a:ext>
            </a:extLst>
          </p:cNvPr>
          <p:cNvSpPr txBox="1"/>
          <p:nvPr/>
        </p:nvSpPr>
        <p:spPr>
          <a:xfrm>
            <a:off x="5607129" y="148924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右下の検索ボタン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ダブルタップして検索します</a:t>
            </a:r>
          </a:p>
        </p:txBody>
      </p:sp>
      <p:sp>
        <p:nvSpPr>
          <p:cNvPr id="11" name="サブタイトル 2">
            <a:extLst>
              <a:ext uri="{FF2B5EF4-FFF2-40B4-BE49-F238E27FC236}">
                <a16:creationId xmlns:a16="http://schemas.microsoft.com/office/drawing/2014/main" id="{0A7367FB-475D-0EC3-1C3C-53084C5351B1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をインストールしましょう</a:t>
            </a:r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D0A74B1B-1F81-8C52-6644-F2A18798F8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6603090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FUN+WALK</a:t>
            </a:r>
            <a:r>
              <a:rPr lang="ja-JP" altLang="en-US" sz="2799" dirty="0">
                <a:solidFill>
                  <a:srgbClr val="4472C4"/>
                </a:solidFill>
              </a:rPr>
              <a:t>アプリのインストール方法</a:t>
            </a:r>
            <a:endParaRPr lang="ja-JP" altLang="en-US" dirty="0">
              <a:solidFill>
                <a:srgbClr val="4472C4"/>
              </a:solidFill>
            </a:endParaRPr>
          </a:p>
        </p:txBody>
      </p:sp>
      <p:sp>
        <p:nvSpPr>
          <p:cNvPr id="15" name="タイトル 1">
            <a:extLst>
              <a:ext uri="{FF2B5EF4-FFF2-40B4-BE49-F238E27FC236}">
                <a16:creationId xmlns:a16="http://schemas.microsoft.com/office/drawing/2014/main" id="{3FB1E59D-4A3A-603A-206E-32FFA3779CA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A</a:t>
            </a:r>
          </a:p>
        </p:txBody>
      </p:sp>
    </p:spTree>
    <p:extLst>
      <p:ext uri="{BB962C8B-B14F-4D97-AF65-F5344CB8AC3E}">
        <p14:creationId xmlns:p14="http://schemas.microsoft.com/office/powerpoint/2010/main" val="36806703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>
            <a:extLst>
              <a:ext uri="{FF2B5EF4-FFF2-40B4-BE49-F238E27FC236}">
                <a16:creationId xmlns:a16="http://schemas.microsoft.com/office/drawing/2014/main" id="{5CF4D4A5-1CE3-6485-72CE-9934F16321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0234" y="2233245"/>
            <a:ext cx="2475191" cy="4383404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712BA863-9CEF-868B-727D-307C4746E5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5492" y="2233245"/>
            <a:ext cx="2475191" cy="4383404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FE19DBDC-2AAD-6147-E03F-F91332E761F3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8C680E4A-0BE2-4519-D78C-AC83CB5058A4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ECBCA45A-DA02-FBA1-BE84-A44EC1FDDD3C}"/>
              </a:ext>
            </a:extLst>
          </p:cNvPr>
          <p:cNvSpPr txBox="1"/>
          <p:nvPr/>
        </p:nvSpPr>
        <p:spPr>
          <a:xfrm>
            <a:off x="1412435" y="1489248"/>
            <a:ext cx="3484568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入手」をダブルタップします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AE8B6018-004E-1F80-1ED1-BAB2BE4FAA1E}"/>
              </a:ext>
            </a:extLst>
          </p:cNvPr>
          <p:cNvSpPr/>
          <p:nvPr/>
        </p:nvSpPr>
        <p:spPr>
          <a:xfrm>
            <a:off x="7267171" y="2912195"/>
            <a:ext cx="584774" cy="363639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A895D6FF-0FF3-C219-9497-49135599D9CD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1C8090F-BD67-0446-B228-EAE7AF8233E9}"/>
              </a:ext>
            </a:extLst>
          </p:cNvPr>
          <p:cNvSpPr/>
          <p:nvPr/>
        </p:nvSpPr>
        <p:spPr>
          <a:xfrm>
            <a:off x="3096259" y="3191315"/>
            <a:ext cx="315028" cy="125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3E782833-57C0-DCC2-2536-DC0F8ECA0A6F}"/>
              </a:ext>
            </a:extLst>
          </p:cNvPr>
          <p:cNvSpPr/>
          <p:nvPr/>
        </p:nvSpPr>
        <p:spPr>
          <a:xfrm>
            <a:off x="2971458" y="2908834"/>
            <a:ext cx="584774" cy="363639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1A95E11A-4925-6BF8-BAB2-DEB93EFC423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942B93A4-86C6-4575-8C6E-6A748F095B04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5E5109E2-2583-1A83-D135-128366EF7ABB}"/>
              </a:ext>
            </a:extLst>
          </p:cNvPr>
          <p:cNvSpPr txBox="1"/>
          <p:nvPr/>
        </p:nvSpPr>
        <p:spPr>
          <a:xfrm>
            <a:off x="5607129" y="148924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が完了すると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表示が「開く」に変わります</a:t>
            </a:r>
          </a:p>
        </p:txBody>
      </p:sp>
      <p:sp>
        <p:nvSpPr>
          <p:cNvPr id="10" name="サブタイトル 2">
            <a:extLst>
              <a:ext uri="{FF2B5EF4-FFF2-40B4-BE49-F238E27FC236}">
                <a16:creationId xmlns:a16="http://schemas.microsoft.com/office/drawing/2014/main" id="{A5D02F5A-F1F3-6E29-6F1F-94AB18E0FEF8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をインストールしましょう</a:t>
            </a: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93EE8F19-F453-32A1-1226-A76514356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6603090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FUN+WALK</a:t>
            </a:r>
            <a:r>
              <a:rPr lang="ja-JP" altLang="en-US" sz="2799" dirty="0">
                <a:solidFill>
                  <a:srgbClr val="4472C4"/>
                </a:solidFill>
              </a:rPr>
              <a:t>アプリのインストール方法</a:t>
            </a:r>
            <a:endParaRPr lang="ja-JP" altLang="en-US" dirty="0">
              <a:solidFill>
                <a:srgbClr val="4472C4"/>
              </a:solidFill>
            </a:endParaRP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72D9EA7A-047B-C70C-9820-DB656E06CFA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A</a:t>
            </a:r>
          </a:p>
        </p:txBody>
      </p:sp>
    </p:spTree>
    <p:extLst>
      <p:ext uri="{BB962C8B-B14F-4D97-AF65-F5344CB8AC3E}">
        <p14:creationId xmlns:p14="http://schemas.microsoft.com/office/powerpoint/2010/main" val="22529276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630C360F03D9154893E8CD1E92A1C47E" ma:contentTypeVersion="12" ma:contentTypeDescription="新しいドキュメントを作成します。" ma:contentTypeScope="" ma:versionID="a7bc55e77245ee526a4c6de1d040215d">
  <xsd:schema xmlns:xsd="http://www.w3.org/2001/XMLSchema" xmlns:xs="http://www.w3.org/2001/XMLSchema" xmlns:p="http://schemas.microsoft.com/office/2006/metadata/properties" xmlns:ns2="079a4871-f4a2-4665-9954-203da50962a5" xmlns:ns3="2c894bec-798d-4cf3-95d8-8ea6401a7b86" targetNamespace="http://schemas.microsoft.com/office/2006/metadata/properties" ma:root="true" ma:fieldsID="e3bd04e3e020b843bab1d42e7f964934" ns2:_="" ns3:_="">
    <xsd:import namespace="079a4871-f4a2-4665-9954-203da50962a5"/>
    <xsd:import namespace="2c894bec-798d-4cf3-95d8-8ea6401a7b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9a4871-f4a2-4665-9954-203da5096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画像タグ" ma:readOnly="false" ma:fieldId="{5cf76f15-5ced-4ddc-b409-7134ff3c332f}" ma:taxonomyMulti="true" ma:sspId="4fc079cf-368d-4738-8e08-a0b0e68d1a9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894bec-798d-4cf3-95d8-8ea6401a7b86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3e2f2ba5-c93a-4102-ad8d-e1a5341c9bde}" ma:internalName="TaxCatchAll" ma:showField="CatchAllData" ma:web="2c894bec-798d-4cf3-95d8-8ea6401a7b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c894bec-798d-4cf3-95d8-8ea6401a7b86" xsi:nil="true"/>
    <lcf76f155ced4ddcb4097134ff3c332f xmlns="079a4871-f4a2-4665-9954-203da50962a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2A59DCD-4DBB-444D-A7B9-AF6BABE5E7C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BD37C5F-4052-4A05-83FC-A37D332FB0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79a4871-f4a2-4665-9954-203da50962a5"/>
    <ds:schemaRef ds:uri="2c894bec-798d-4cf3-95d8-8ea6401a7b8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E0E30DB-0415-4458-A9FB-7FC2791A2620}">
  <ds:schemaRefs>
    <ds:schemaRef ds:uri="http://schemas.openxmlformats.org/package/2006/metadata/core-properties"/>
    <ds:schemaRef ds:uri="http://purl.org/dc/terms/"/>
    <ds:schemaRef ds:uri="2c894bec-798d-4cf3-95d8-8ea6401a7b86"/>
    <ds:schemaRef ds:uri="http://schemas.microsoft.com/office/2006/documentManagement/types"/>
    <ds:schemaRef ds:uri="http://schemas.microsoft.com/office/2006/metadata/properties"/>
    <ds:schemaRef ds:uri="079a4871-f4a2-4665-9954-203da50962a5"/>
    <ds:schemaRef ds:uri="http://purl.org/dc/elements/1.1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187</Words>
  <Application>Microsoft Office PowerPoint</Application>
  <PresentationFormat>画面に合わせる (4:3)</PresentationFormat>
  <Paragraphs>280</Paragraphs>
  <Slides>30</Slides>
  <Notes>3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0</vt:i4>
      </vt:variant>
    </vt:vector>
  </HeadingPairs>
  <TitlesOfParts>
    <vt:vector size="38" baseType="lpstr">
      <vt:lpstr>BIZ UDPゴシック</vt:lpstr>
      <vt:lpstr>BIZ UDゴシック</vt:lpstr>
      <vt:lpstr>メイリオ</vt:lpstr>
      <vt:lpstr>Abadi</vt:lpstr>
      <vt:lpstr>Arial</vt:lpstr>
      <vt:lpstr>Calibri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1-A</vt:lpstr>
      <vt:lpstr>1-B</vt:lpstr>
      <vt:lpstr>PowerPoint プレゼンテーション</vt:lpstr>
      <vt:lpstr>FUN+WALKアプリのインストール方法</vt:lpstr>
      <vt:lpstr>FUN+WALKアプリのインストール方法</vt:lpstr>
      <vt:lpstr>FUN+WALKアプリのインストール方法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PowerPoint プレゼンテーション</vt:lpstr>
      <vt:lpstr>3-A</vt:lpstr>
      <vt:lpstr>PowerPoint プレゼンテーション</vt:lpstr>
      <vt:lpstr>PowerPoint プレゼンテーション</vt:lpstr>
      <vt:lpstr>キャラクターの変更</vt:lpstr>
      <vt:lpstr>キャラクターの変更</vt:lpstr>
      <vt:lpstr>キャラクターの変更</vt:lpstr>
      <vt:lpstr>自分に合った目標設定</vt:lpstr>
      <vt:lpstr>自分に合った目標設定</vt:lpstr>
      <vt:lpstr>自分に合った目標設定</vt:lpstr>
      <vt:lpstr>自分に合った目標設定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/>
  <cp:lastModifiedBy/>
  <cp:revision>237</cp:revision>
  <dcterms:created xsi:type="dcterms:W3CDTF">2021-12-21T00:45:50Z</dcterms:created>
  <dcterms:modified xsi:type="dcterms:W3CDTF">2025-03-27T15:15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0C360F03D9154893E8CD1E92A1C47E</vt:lpwstr>
  </property>
  <property fmtid="{D5CDD505-2E9C-101B-9397-08002B2CF9AE}" pid="3" name="Order">
    <vt:lpwstr>99800.0000000000</vt:lpwstr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  <property fmtid="{D5CDD505-2E9C-101B-9397-08002B2CF9AE}" pid="10" name="MediaServiceImageTags">
    <vt:lpwstr/>
  </property>
</Properties>
</file>